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28"/>
  </p:notesMasterIdLst>
  <p:sldIdLst>
    <p:sldId id="258" r:id="rId3"/>
    <p:sldId id="256" r:id="rId4"/>
    <p:sldId id="267" r:id="rId5"/>
    <p:sldId id="276" r:id="rId6"/>
    <p:sldId id="257" r:id="rId7"/>
    <p:sldId id="279" r:id="rId8"/>
    <p:sldId id="266" r:id="rId9"/>
    <p:sldId id="274" r:id="rId10"/>
    <p:sldId id="284" r:id="rId11"/>
    <p:sldId id="285" r:id="rId12"/>
    <p:sldId id="288" r:id="rId13"/>
    <p:sldId id="287" r:id="rId14"/>
    <p:sldId id="271" r:id="rId15"/>
    <p:sldId id="272" r:id="rId16"/>
    <p:sldId id="259" r:id="rId17"/>
    <p:sldId id="273" r:id="rId18"/>
    <p:sldId id="289" r:id="rId19"/>
    <p:sldId id="290" r:id="rId20"/>
    <p:sldId id="270" r:id="rId21"/>
    <p:sldId id="277" r:id="rId22"/>
    <p:sldId id="280" r:id="rId23"/>
    <p:sldId id="281" r:id="rId24"/>
    <p:sldId id="282" r:id="rId25"/>
    <p:sldId id="283" r:id="rId26"/>
    <p:sldId id="268" r:id="rId27"/>
  </p:sldIdLst>
  <p:sldSz cx="12192000" cy="6858000"/>
  <p:notesSz cx="6858000" cy="9144000"/>
  <p:embeddedFontLst>
    <p:embeddedFont>
      <p:font typeface="Barlow Light" panose="020B0604020202020204" charset="0"/>
      <p:regular r:id="rId29"/>
      <p:bold r:id="rId30"/>
      <p:italic r:id="rId31"/>
      <p:bold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Consolas" panose="020B0609020204030204" pitchFamily="49" charset="0"/>
      <p:regular r:id="rId37"/>
      <p:bold r:id="rId38"/>
      <p:italic r:id="rId39"/>
      <p:boldItalic r:id="rId40"/>
    </p:embeddedFont>
    <p:embeddedFont>
      <p:font typeface="Oswald" pitchFamily="2" charset="0"/>
      <p:regular r:id="rId41"/>
      <p:bold r:id="rId42"/>
    </p:embeddedFont>
    <p:embeddedFont>
      <p:font typeface="Raleway" panose="020B0604020202020204" charset="0"/>
      <p:regular r:id="rId43"/>
      <p:bold r:id="rId44"/>
      <p:italic r:id="rId45"/>
      <p:boldItalic r:id="rId46"/>
    </p:embeddedFont>
    <p:embeddedFont>
      <p:font typeface="Raleway Thin" panose="020B0604020202020204" charset="0"/>
      <p:regular r:id="rId47"/>
      <p:bold r:id="rId48"/>
      <p:italic r:id="rId49"/>
      <p:boldItalic r:id="rId50"/>
    </p:embeddedFont>
    <p:embeddedFont>
      <p:font typeface="Sitka Text Semibold" pitchFamily="2" charset="0"/>
      <p:bold r:id="rId51"/>
      <p:boldItalic r:id="rId5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3D6E5"/>
    <a:srgbClr val="FEF5CD"/>
    <a:srgbClr val="EEE9FF"/>
    <a:srgbClr val="D1B9FF"/>
    <a:srgbClr val="474C5C"/>
    <a:srgbClr val="EDEEF5"/>
    <a:srgbClr val="4895EF"/>
    <a:srgbClr val="4CC9F0"/>
    <a:srgbClr val="3F37C9"/>
    <a:srgbClr val="3A0C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0" d="100"/>
          <a:sy n="70" d="100"/>
        </p:scale>
        <p:origin x="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11.fntdata"/><Relationship Id="rId21" Type="http://schemas.openxmlformats.org/officeDocument/2006/relationships/slide" Target="slides/slide19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font" Target="fonts/font19.fntdata"/><Relationship Id="rId50" Type="http://schemas.openxmlformats.org/officeDocument/2006/relationships/font" Target="fonts/font22.fntdata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1.fntdata"/><Relationship Id="rId41" Type="http://schemas.openxmlformats.org/officeDocument/2006/relationships/font" Target="fonts/font13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49" Type="http://schemas.openxmlformats.org/officeDocument/2006/relationships/font" Target="fonts/font21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openxmlformats.org/officeDocument/2006/relationships/font" Target="fonts/font24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font" Target="fonts/font20.fntdata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font" Target="fonts/font23.fntdata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2B2DE-040E-43B3-9886-2B59246912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D1B6F3-8129-4935-B5C5-B35AA362B4CC}">
      <dgm:prSet custT="1"/>
      <dgm:spPr/>
      <dgm:t>
        <a:bodyPr/>
        <a:lstStyle/>
        <a:p>
          <a:pPr algn="l"/>
          <a:r>
            <a:rPr lang="en-US" sz="2000" b="0" i="0"/>
            <a:t>Hình thành nên tư duy để giải quyết các bài toán khó không chỉ về khía cạnh công nghệ thông tin.</a:t>
          </a:r>
          <a:endParaRPr lang="en-US" sz="2000"/>
        </a:p>
      </dgm:t>
    </dgm:pt>
    <dgm:pt modelId="{B8FE882F-BAE7-42A2-9D03-116C7F55848E}" type="parTrans" cxnId="{A8AE6FCA-E55B-428F-9AB2-5CF6732FA21D}">
      <dgm:prSet/>
      <dgm:spPr/>
      <dgm:t>
        <a:bodyPr/>
        <a:lstStyle/>
        <a:p>
          <a:endParaRPr lang="en-US"/>
        </a:p>
      </dgm:t>
    </dgm:pt>
    <dgm:pt modelId="{BC73434C-6C87-4DC8-AAFC-02C9CCD279DD}" type="sibTrans" cxnId="{A8AE6FCA-E55B-428F-9AB2-5CF6732FA21D}">
      <dgm:prSet/>
      <dgm:spPr/>
      <dgm:t>
        <a:bodyPr/>
        <a:lstStyle/>
        <a:p>
          <a:endParaRPr lang="en-US"/>
        </a:p>
      </dgm:t>
    </dgm:pt>
    <dgm:pt modelId="{BD94B0F7-2D8B-46D1-8241-8FE5424D7DB8}">
      <dgm:prSet custT="1"/>
      <dgm:spPr/>
      <dgm:t>
        <a:bodyPr/>
        <a:lstStyle/>
        <a:p>
          <a:pPr algn="just"/>
          <a:r>
            <a:rPr lang="en-US" sz="2000" b="0" i="0"/>
            <a:t>Giải quyết các bài toán một cách công nghiệp hơn.</a:t>
          </a:r>
          <a:endParaRPr lang="en-US" sz="2000"/>
        </a:p>
      </dgm:t>
    </dgm:pt>
    <dgm:pt modelId="{1A7FF038-3484-4B36-A84A-0EF35B581DD7}" type="parTrans" cxnId="{AB466496-C7CA-4DA1-91CE-D93962660994}">
      <dgm:prSet/>
      <dgm:spPr/>
      <dgm:t>
        <a:bodyPr/>
        <a:lstStyle/>
        <a:p>
          <a:endParaRPr lang="en-US"/>
        </a:p>
      </dgm:t>
    </dgm:pt>
    <dgm:pt modelId="{8B39A908-5911-4023-8F60-26E9CB69573F}" type="sibTrans" cxnId="{AB466496-C7CA-4DA1-91CE-D93962660994}">
      <dgm:prSet/>
      <dgm:spPr/>
      <dgm:t>
        <a:bodyPr/>
        <a:lstStyle/>
        <a:p>
          <a:endParaRPr lang="en-US"/>
        </a:p>
      </dgm:t>
    </dgm:pt>
    <dgm:pt modelId="{118F8C5B-C862-4A55-B98D-31825DF497C8}">
      <dgm:prSet custT="1"/>
      <dgm:spPr/>
      <dgm:t>
        <a:bodyPr/>
        <a:lstStyle/>
        <a:p>
          <a:pPr algn="l"/>
          <a:r>
            <a:rPr lang="en-US" sz="2000" b="0" i="0"/>
            <a:t>Giúp phản ánh rõ ràng về vấn đề cần giải quyết và từ đó ta có thể lập trình giải pháp cho vấn đề.</a:t>
          </a:r>
          <a:endParaRPr lang="en-US" sz="2000"/>
        </a:p>
      </dgm:t>
    </dgm:pt>
    <dgm:pt modelId="{BC58F008-2B97-4A17-AF5A-485D1172978B}" type="parTrans" cxnId="{A5340EA9-A099-4E6D-95E2-E5B945C8290A}">
      <dgm:prSet/>
      <dgm:spPr/>
      <dgm:t>
        <a:bodyPr/>
        <a:lstStyle/>
        <a:p>
          <a:endParaRPr lang="en-US"/>
        </a:p>
      </dgm:t>
    </dgm:pt>
    <dgm:pt modelId="{8168D678-015A-4A6C-924F-8BA5E762D4D5}" type="sibTrans" cxnId="{A5340EA9-A099-4E6D-95E2-E5B945C8290A}">
      <dgm:prSet/>
      <dgm:spPr/>
      <dgm:t>
        <a:bodyPr/>
        <a:lstStyle/>
        <a:p>
          <a:endParaRPr lang="en-US"/>
        </a:p>
      </dgm:t>
    </dgm:pt>
    <dgm:pt modelId="{655B2133-2FD4-494D-933E-F618BD94B8AF}" type="pres">
      <dgm:prSet presAssocID="{FC92B2DE-040E-43B3-9886-2B592469121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2859AB8-165B-4CCC-99D9-04F8BB2ECD45}" type="pres">
      <dgm:prSet presAssocID="{44D1B6F3-8129-4935-B5C5-B35AA362B4CC}" presName="circle1" presStyleLbl="node1" presStyleIdx="0" presStyleCnt="3"/>
      <dgm:spPr/>
    </dgm:pt>
    <dgm:pt modelId="{AB312FEF-541E-4A2E-9269-F7B6CD937DD0}" type="pres">
      <dgm:prSet presAssocID="{44D1B6F3-8129-4935-B5C5-B35AA362B4CC}" presName="space" presStyleCnt="0"/>
      <dgm:spPr/>
    </dgm:pt>
    <dgm:pt modelId="{EFDC9153-2A1C-40D2-8150-24F8807C5572}" type="pres">
      <dgm:prSet presAssocID="{44D1B6F3-8129-4935-B5C5-B35AA362B4CC}" presName="rect1" presStyleLbl="alignAcc1" presStyleIdx="0" presStyleCnt="3"/>
      <dgm:spPr/>
    </dgm:pt>
    <dgm:pt modelId="{04F43044-26DA-462C-B261-A9603AB933F3}" type="pres">
      <dgm:prSet presAssocID="{BD94B0F7-2D8B-46D1-8241-8FE5424D7DB8}" presName="vertSpace2" presStyleLbl="node1" presStyleIdx="0" presStyleCnt="3"/>
      <dgm:spPr/>
    </dgm:pt>
    <dgm:pt modelId="{EAFA3F90-9855-44A2-A671-7BD2EE8B7F75}" type="pres">
      <dgm:prSet presAssocID="{BD94B0F7-2D8B-46D1-8241-8FE5424D7DB8}" presName="circle2" presStyleLbl="node1" presStyleIdx="1" presStyleCnt="3"/>
      <dgm:spPr/>
    </dgm:pt>
    <dgm:pt modelId="{4CDC8AE6-BA2B-4F40-8595-8F0450A0A2DF}" type="pres">
      <dgm:prSet presAssocID="{BD94B0F7-2D8B-46D1-8241-8FE5424D7DB8}" presName="rect2" presStyleLbl="alignAcc1" presStyleIdx="1" presStyleCnt="3"/>
      <dgm:spPr/>
    </dgm:pt>
    <dgm:pt modelId="{9796EB7B-C9C2-4A02-88B2-734969A90892}" type="pres">
      <dgm:prSet presAssocID="{118F8C5B-C862-4A55-B98D-31825DF497C8}" presName="vertSpace3" presStyleLbl="node1" presStyleIdx="1" presStyleCnt="3"/>
      <dgm:spPr/>
    </dgm:pt>
    <dgm:pt modelId="{496ADDC0-92E6-4D5C-9C24-FE0817D670A5}" type="pres">
      <dgm:prSet presAssocID="{118F8C5B-C862-4A55-B98D-31825DF497C8}" presName="circle3" presStyleLbl="node1" presStyleIdx="2" presStyleCnt="3"/>
      <dgm:spPr/>
    </dgm:pt>
    <dgm:pt modelId="{3C61FE2B-18D4-4C3C-9E96-2C03F0E1995E}" type="pres">
      <dgm:prSet presAssocID="{118F8C5B-C862-4A55-B98D-31825DF497C8}" presName="rect3" presStyleLbl="alignAcc1" presStyleIdx="2" presStyleCnt="3"/>
      <dgm:spPr/>
    </dgm:pt>
    <dgm:pt modelId="{D8F6878C-6F1D-4BD2-A809-753797B5313E}" type="pres">
      <dgm:prSet presAssocID="{44D1B6F3-8129-4935-B5C5-B35AA362B4CC}" presName="rect1ParTxNoCh" presStyleLbl="alignAcc1" presStyleIdx="2" presStyleCnt="3">
        <dgm:presLayoutVars>
          <dgm:chMax val="1"/>
          <dgm:bulletEnabled val="1"/>
        </dgm:presLayoutVars>
      </dgm:prSet>
      <dgm:spPr/>
    </dgm:pt>
    <dgm:pt modelId="{11385D91-5BFF-4985-9B6C-D9D0C07AE766}" type="pres">
      <dgm:prSet presAssocID="{BD94B0F7-2D8B-46D1-8241-8FE5424D7DB8}" presName="rect2ParTxNoCh" presStyleLbl="alignAcc1" presStyleIdx="2" presStyleCnt="3">
        <dgm:presLayoutVars>
          <dgm:chMax val="1"/>
          <dgm:bulletEnabled val="1"/>
        </dgm:presLayoutVars>
      </dgm:prSet>
      <dgm:spPr/>
    </dgm:pt>
    <dgm:pt modelId="{8AF37379-1016-49DF-9687-404ED217DF3A}" type="pres">
      <dgm:prSet presAssocID="{118F8C5B-C862-4A55-B98D-31825DF497C8}" presName="rect3ParTxNoCh" presStyleLbl="alignAcc1" presStyleIdx="2" presStyleCnt="3">
        <dgm:presLayoutVars>
          <dgm:chMax val="1"/>
          <dgm:bulletEnabled val="1"/>
        </dgm:presLayoutVars>
      </dgm:prSet>
      <dgm:spPr/>
    </dgm:pt>
  </dgm:ptLst>
  <dgm:cxnLst>
    <dgm:cxn modelId="{ABE34E04-0763-4531-8934-90437A82F340}" type="presOf" srcId="{118F8C5B-C862-4A55-B98D-31825DF497C8}" destId="{8AF37379-1016-49DF-9687-404ED217DF3A}" srcOrd="1" destOrd="0" presId="urn:microsoft.com/office/officeart/2005/8/layout/target3"/>
    <dgm:cxn modelId="{30A25013-FC28-4E67-AA76-167400B4D548}" type="presOf" srcId="{BD94B0F7-2D8B-46D1-8241-8FE5424D7DB8}" destId="{4CDC8AE6-BA2B-4F40-8595-8F0450A0A2DF}" srcOrd="0" destOrd="0" presId="urn:microsoft.com/office/officeart/2005/8/layout/target3"/>
    <dgm:cxn modelId="{29585C67-8698-4E18-B92B-2C782AD6F12B}" type="presOf" srcId="{44D1B6F3-8129-4935-B5C5-B35AA362B4CC}" destId="{D8F6878C-6F1D-4BD2-A809-753797B5313E}" srcOrd="1" destOrd="0" presId="urn:microsoft.com/office/officeart/2005/8/layout/target3"/>
    <dgm:cxn modelId="{86079458-2D8A-48B9-AB4F-F2A9B67FAC5A}" type="presOf" srcId="{BD94B0F7-2D8B-46D1-8241-8FE5424D7DB8}" destId="{11385D91-5BFF-4985-9B6C-D9D0C07AE766}" srcOrd="1" destOrd="0" presId="urn:microsoft.com/office/officeart/2005/8/layout/target3"/>
    <dgm:cxn modelId="{AB466496-C7CA-4DA1-91CE-D93962660994}" srcId="{FC92B2DE-040E-43B3-9886-2B5924691215}" destId="{BD94B0F7-2D8B-46D1-8241-8FE5424D7DB8}" srcOrd="1" destOrd="0" parTransId="{1A7FF038-3484-4B36-A84A-0EF35B581DD7}" sibTransId="{8B39A908-5911-4023-8F60-26E9CB69573F}"/>
    <dgm:cxn modelId="{CCBCC596-685B-4123-98A0-24BE47EE6208}" type="presOf" srcId="{FC92B2DE-040E-43B3-9886-2B5924691215}" destId="{655B2133-2FD4-494D-933E-F618BD94B8AF}" srcOrd="0" destOrd="0" presId="urn:microsoft.com/office/officeart/2005/8/layout/target3"/>
    <dgm:cxn modelId="{A5340EA9-A099-4E6D-95E2-E5B945C8290A}" srcId="{FC92B2DE-040E-43B3-9886-2B5924691215}" destId="{118F8C5B-C862-4A55-B98D-31825DF497C8}" srcOrd="2" destOrd="0" parTransId="{BC58F008-2B97-4A17-AF5A-485D1172978B}" sibTransId="{8168D678-015A-4A6C-924F-8BA5E762D4D5}"/>
    <dgm:cxn modelId="{11CEAFC6-04E7-41AD-90C0-BD8347106F91}" type="presOf" srcId="{118F8C5B-C862-4A55-B98D-31825DF497C8}" destId="{3C61FE2B-18D4-4C3C-9E96-2C03F0E1995E}" srcOrd="0" destOrd="0" presId="urn:microsoft.com/office/officeart/2005/8/layout/target3"/>
    <dgm:cxn modelId="{A8AE6FCA-E55B-428F-9AB2-5CF6732FA21D}" srcId="{FC92B2DE-040E-43B3-9886-2B5924691215}" destId="{44D1B6F3-8129-4935-B5C5-B35AA362B4CC}" srcOrd="0" destOrd="0" parTransId="{B8FE882F-BAE7-42A2-9D03-116C7F55848E}" sibTransId="{BC73434C-6C87-4DC8-AAFC-02C9CCD279DD}"/>
    <dgm:cxn modelId="{581E60DF-C219-4442-9FA9-2155F77A435F}" type="presOf" srcId="{44D1B6F3-8129-4935-B5C5-B35AA362B4CC}" destId="{EFDC9153-2A1C-40D2-8150-24F8807C5572}" srcOrd="0" destOrd="0" presId="urn:microsoft.com/office/officeart/2005/8/layout/target3"/>
    <dgm:cxn modelId="{1748AED5-8C9D-4CF8-97C0-822B0BE502D6}" type="presParOf" srcId="{655B2133-2FD4-494D-933E-F618BD94B8AF}" destId="{B2859AB8-165B-4CCC-99D9-04F8BB2ECD45}" srcOrd="0" destOrd="0" presId="urn:microsoft.com/office/officeart/2005/8/layout/target3"/>
    <dgm:cxn modelId="{5971FCCC-E75D-45D3-9E4B-19BE06045765}" type="presParOf" srcId="{655B2133-2FD4-494D-933E-F618BD94B8AF}" destId="{AB312FEF-541E-4A2E-9269-F7B6CD937DD0}" srcOrd="1" destOrd="0" presId="urn:microsoft.com/office/officeart/2005/8/layout/target3"/>
    <dgm:cxn modelId="{F7DAB75F-F52B-482C-BB6C-DDEC2897F47E}" type="presParOf" srcId="{655B2133-2FD4-494D-933E-F618BD94B8AF}" destId="{EFDC9153-2A1C-40D2-8150-24F8807C5572}" srcOrd="2" destOrd="0" presId="urn:microsoft.com/office/officeart/2005/8/layout/target3"/>
    <dgm:cxn modelId="{3950BFAA-2CA8-4BB2-82AE-051C5C08578E}" type="presParOf" srcId="{655B2133-2FD4-494D-933E-F618BD94B8AF}" destId="{04F43044-26DA-462C-B261-A9603AB933F3}" srcOrd="3" destOrd="0" presId="urn:microsoft.com/office/officeart/2005/8/layout/target3"/>
    <dgm:cxn modelId="{02B23DBB-3245-472C-91E7-FA794BF1C4FF}" type="presParOf" srcId="{655B2133-2FD4-494D-933E-F618BD94B8AF}" destId="{EAFA3F90-9855-44A2-A671-7BD2EE8B7F75}" srcOrd="4" destOrd="0" presId="urn:microsoft.com/office/officeart/2005/8/layout/target3"/>
    <dgm:cxn modelId="{A3C83AAE-5021-461A-A881-D0D131EF16D8}" type="presParOf" srcId="{655B2133-2FD4-494D-933E-F618BD94B8AF}" destId="{4CDC8AE6-BA2B-4F40-8595-8F0450A0A2DF}" srcOrd="5" destOrd="0" presId="urn:microsoft.com/office/officeart/2005/8/layout/target3"/>
    <dgm:cxn modelId="{ED066605-CBEB-4413-802A-213FB59F8118}" type="presParOf" srcId="{655B2133-2FD4-494D-933E-F618BD94B8AF}" destId="{9796EB7B-C9C2-4A02-88B2-734969A90892}" srcOrd="6" destOrd="0" presId="urn:microsoft.com/office/officeart/2005/8/layout/target3"/>
    <dgm:cxn modelId="{66168B8D-894A-4A9A-87AE-F7E6098D00BB}" type="presParOf" srcId="{655B2133-2FD4-494D-933E-F618BD94B8AF}" destId="{496ADDC0-92E6-4D5C-9C24-FE0817D670A5}" srcOrd="7" destOrd="0" presId="urn:microsoft.com/office/officeart/2005/8/layout/target3"/>
    <dgm:cxn modelId="{157636D1-91E6-4601-8A5C-9CCD29A4A9A2}" type="presParOf" srcId="{655B2133-2FD4-494D-933E-F618BD94B8AF}" destId="{3C61FE2B-18D4-4C3C-9E96-2C03F0E1995E}" srcOrd="8" destOrd="0" presId="urn:microsoft.com/office/officeart/2005/8/layout/target3"/>
    <dgm:cxn modelId="{1C04819C-A46D-4D13-85C9-89B3C18A3431}" type="presParOf" srcId="{655B2133-2FD4-494D-933E-F618BD94B8AF}" destId="{D8F6878C-6F1D-4BD2-A809-753797B5313E}" srcOrd="9" destOrd="0" presId="urn:microsoft.com/office/officeart/2005/8/layout/target3"/>
    <dgm:cxn modelId="{9D695295-3303-4D7F-9ADB-CA130C22EFF7}" type="presParOf" srcId="{655B2133-2FD4-494D-933E-F618BD94B8AF}" destId="{11385D91-5BFF-4985-9B6C-D9D0C07AE766}" srcOrd="10" destOrd="0" presId="urn:microsoft.com/office/officeart/2005/8/layout/target3"/>
    <dgm:cxn modelId="{987FC2D6-04DF-4AFA-A9FA-029EE361C94F}" type="presParOf" srcId="{655B2133-2FD4-494D-933E-F618BD94B8AF}" destId="{8AF37379-1016-49DF-9687-404ED217DF3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59AB8-165B-4CCC-99D9-04F8BB2ECD45}">
      <dsp:nvSpPr>
        <dsp:cNvPr id="0" name=""/>
        <dsp:cNvSpPr/>
      </dsp:nvSpPr>
      <dsp:spPr>
        <a:xfrm>
          <a:off x="0" y="0"/>
          <a:ext cx="3956506" cy="395650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DC9153-2A1C-40D2-8150-24F8807C5572}">
      <dsp:nvSpPr>
        <dsp:cNvPr id="0" name=""/>
        <dsp:cNvSpPr/>
      </dsp:nvSpPr>
      <dsp:spPr>
        <a:xfrm>
          <a:off x="1978253" y="0"/>
          <a:ext cx="7351276" cy="39565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Hình thành nên tư duy để giải quyết các bài toán khó không chỉ về khía cạnh công nghệ thông tin.</a:t>
          </a:r>
          <a:endParaRPr lang="en-US" sz="2000" kern="1200"/>
        </a:p>
      </dsp:txBody>
      <dsp:txXfrm>
        <a:off x="1978253" y="0"/>
        <a:ext cx="7351276" cy="1186954"/>
      </dsp:txXfrm>
    </dsp:sp>
    <dsp:sp modelId="{EAFA3F90-9855-44A2-A671-7BD2EE8B7F75}">
      <dsp:nvSpPr>
        <dsp:cNvPr id="0" name=""/>
        <dsp:cNvSpPr/>
      </dsp:nvSpPr>
      <dsp:spPr>
        <a:xfrm>
          <a:off x="692390" y="1186954"/>
          <a:ext cx="2571726" cy="257172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DC8AE6-BA2B-4F40-8595-8F0450A0A2DF}">
      <dsp:nvSpPr>
        <dsp:cNvPr id="0" name=""/>
        <dsp:cNvSpPr/>
      </dsp:nvSpPr>
      <dsp:spPr>
        <a:xfrm>
          <a:off x="1978253" y="1186954"/>
          <a:ext cx="7351276" cy="257172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ải quyết các bài toán một cách công nghiệp hơn.</a:t>
          </a:r>
          <a:endParaRPr lang="en-US" sz="2000" kern="1200"/>
        </a:p>
      </dsp:txBody>
      <dsp:txXfrm>
        <a:off x="1978253" y="1186954"/>
        <a:ext cx="7351276" cy="1186950"/>
      </dsp:txXfrm>
    </dsp:sp>
    <dsp:sp modelId="{496ADDC0-92E6-4D5C-9C24-FE0817D670A5}">
      <dsp:nvSpPr>
        <dsp:cNvPr id="0" name=""/>
        <dsp:cNvSpPr/>
      </dsp:nvSpPr>
      <dsp:spPr>
        <a:xfrm>
          <a:off x="1384778" y="2373905"/>
          <a:ext cx="1186950" cy="118695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61FE2B-18D4-4C3C-9E96-2C03F0E1995E}">
      <dsp:nvSpPr>
        <dsp:cNvPr id="0" name=""/>
        <dsp:cNvSpPr/>
      </dsp:nvSpPr>
      <dsp:spPr>
        <a:xfrm>
          <a:off x="1978253" y="2373905"/>
          <a:ext cx="7351276" cy="1186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úp phản ánh rõ ràng về vấn đề cần giải quyết và từ đó ta có thể lập trình giải pháp cho vấn đề.</a:t>
          </a:r>
          <a:endParaRPr lang="en-US" sz="2000" kern="1200"/>
        </a:p>
      </dsp:txBody>
      <dsp:txXfrm>
        <a:off x="1978253" y="2373905"/>
        <a:ext cx="7351276" cy="1186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48CFD-85C6-4DAA-946A-E12D2674B5F4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520DA-E91E-4C62-B743-31994876C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1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4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66648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4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E217-D27D-4BE0-96A8-8826FB882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9560A2-C641-4F90-9C3B-872C1E87E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8580F-82EF-4D1D-92A1-C05E386E2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71D1F-29F1-4069-9249-7FA204B66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03DE19-F9C9-4C98-99EC-3C634ECAB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C2126-ABDD-4ADF-9744-837714B67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5FD9F-ED96-4575-A846-476A9022C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D43635-0B76-4042-A7DF-40AE9D92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CC8C-070F-4C18-A3C3-C062F4E5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832F-3508-4A46-A6B1-AC19CD8D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5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195289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664078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4003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0922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4938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69901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7155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42413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967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10489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374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87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6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59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9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7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29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09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8978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 thruBlk="1"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1003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6829903" y="890669"/>
            <a:ext cx="5121524" cy="5191071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90332" y="2484800"/>
            <a:ext cx="69615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">
                <a:latin typeface="Oswald" pitchFamily="2" charset="0"/>
                <a:cs typeface="Arial" panose="020B0604020202020204" pitchFamily="34" charset="0"/>
              </a:rPr>
              <a:t>LUYỆN TẬP</a:t>
            </a:r>
            <a:br>
              <a:rPr lang="en">
                <a:latin typeface="Oswald" pitchFamily="2" charset="0"/>
                <a:cs typeface="Arial" panose="020B0604020202020204" pitchFamily="34" charset="0"/>
              </a:rPr>
            </a:br>
            <a:r>
              <a:rPr lang="en">
                <a:latin typeface="Oswald" pitchFamily="2" charset="0"/>
                <a:cs typeface="Arial" panose="020B0604020202020204" pitchFamily="34" charset="0"/>
              </a:rPr>
              <a:t>THIẾT KẾ THUẬT TOÁN</a:t>
            </a:r>
            <a:endParaRPr>
              <a:latin typeface="Oswald" pitchFamily="2" charset="0"/>
              <a:cs typeface="Arial" panose="020B0604020202020204" pitchFamily="34" charset="0"/>
            </a:endParaRPr>
          </a:p>
        </p:txBody>
      </p:sp>
      <p:sp>
        <p:nvSpPr>
          <p:cNvPr id="339" name="Google Shape;338;p12">
            <a:extLst>
              <a:ext uri="{FF2B5EF4-FFF2-40B4-BE49-F238E27FC236}">
                <a16:creationId xmlns:a16="http://schemas.microsoft.com/office/drawing/2014/main" id="{FCAD6450-E572-4F7B-9D50-F3E0EEC75C06}"/>
              </a:ext>
            </a:extLst>
          </p:cNvPr>
          <p:cNvSpPr txBox="1">
            <a:spLocks/>
          </p:cNvSpPr>
          <p:nvPr/>
        </p:nvSpPr>
        <p:spPr>
          <a:xfrm>
            <a:off x="1090332" y="688092"/>
            <a:ext cx="3366823" cy="114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>
              <a:lnSpc>
                <a:spcPct val="150000"/>
              </a:lnSpc>
            </a:pPr>
            <a:r>
              <a:rPr lang="en-US">
                <a:latin typeface="Oswald" pitchFamily="2" charset="0"/>
                <a:cs typeface="Arial" panose="020B0604020202020204" pitchFamily="34" charset="0"/>
              </a:rPr>
              <a:t>Nhóm 1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2851" y="3069397"/>
            <a:ext cx="10548731" cy="2125456"/>
          </a:xfrm>
        </p:spPr>
        <p:txBody>
          <a:bodyPr/>
          <a:lstStyle/>
          <a:p>
            <a:pPr algn="l"/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 1 tập số dương, xác định xem có thể chia tập hợp ra hai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ập hợp có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ổng bằng nhau hay không.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ut : 1 mảng có N phần t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ố nguyên dươ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á trị mỗi tờ tiền được biểu diễn bằng 1 số nguyên dương trong mả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spcBef>
                <a:spcPts val="0"/>
              </a:spcBef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put 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e hoặc False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ồn tại tập hợp có tổng bằng nửa tổng giá trị của tập hợp ban đầu)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</a:endParaRPr>
          </a:p>
          <a:p>
            <a:pPr algn="l"/>
            <a:endParaRPr lang="en-US" sz="20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62851" y="1122363"/>
            <a:ext cx="457200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65A1576-79B9-4260-BC4B-E266CC41C2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2709"/>
              </p:ext>
            </p:extLst>
          </p:nvPr>
        </p:nvGraphicFramePr>
        <p:xfrm>
          <a:off x="2032000" y="2181593"/>
          <a:ext cx="8127999" cy="3759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2283794904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7923651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94042318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56433759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026647589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29153147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12487641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010991286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3736222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315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0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3638" y="1663037"/>
            <a:ext cx="9650379" cy="1427923"/>
          </a:xfrm>
        </p:spPr>
        <p:txBody>
          <a:bodyPr/>
          <a:lstStyle/>
          <a:p>
            <a:pPr algn="l"/>
            <a:r>
              <a:rPr lang="en-US"/>
              <a:t>Cho ví dụ mảng [1, 2, 3, 4]</a:t>
            </a:r>
          </a:p>
          <a:p>
            <a:pPr algn="l"/>
            <a:r>
              <a:rPr lang="en-US"/>
              <a:t>sum = 1 + 2 + 3 + 4 = 10</a:t>
            </a:r>
          </a:p>
          <a:p>
            <a:pPr algn="l"/>
            <a:r>
              <a:rPr lang="en-US"/>
              <a:t> *Mục tiêu là tìm được kết hợp các phần tử nào đó có tổng bằng sum/2</a:t>
            </a:r>
          </a:p>
          <a:p>
            <a:pPr algn="l"/>
            <a:endParaRPr lang="en-US"/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33670" y="1122361"/>
            <a:ext cx="6162259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41C9780-B5BD-41CA-B1F6-7B7E9AC2F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059270"/>
              </p:ext>
            </p:extLst>
          </p:nvPr>
        </p:nvGraphicFramePr>
        <p:xfrm>
          <a:off x="2020955" y="3193773"/>
          <a:ext cx="5335600" cy="2945295"/>
        </p:xfrm>
        <a:graphic>
          <a:graphicData uri="http://schemas.openxmlformats.org/drawingml/2006/table">
            <a:tbl>
              <a:tblPr firstRow="1" firstCol="1">
                <a:effectLst/>
                <a:tableStyleId>{F5AB1C69-6EDB-4FF4-983F-18BD219EF322}</a:tableStyleId>
              </a:tblPr>
              <a:tblGrid>
                <a:gridCol w="1994851">
                  <a:extLst>
                    <a:ext uri="{9D8B030D-6E8A-4147-A177-3AD203B41FA5}">
                      <a16:colId xmlns:a16="http://schemas.microsoft.com/office/drawing/2014/main" val="1380470605"/>
                    </a:ext>
                  </a:extLst>
                </a:gridCol>
                <a:gridCol w="688716">
                  <a:extLst>
                    <a:ext uri="{9D8B030D-6E8A-4147-A177-3AD203B41FA5}">
                      <a16:colId xmlns:a16="http://schemas.microsoft.com/office/drawing/2014/main" val="3832989121"/>
                    </a:ext>
                  </a:extLst>
                </a:gridCol>
                <a:gridCol w="657187">
                  <a:extLst>
                    <a:ext uri="{9D8B030D-6E8A-4147-A177-3AD203B41FA5}">
                      <a16:colId xmlns:a16="http://schemas.microsoft.com/office/drawing/2014/main" val="2176251432"/>
                    </a:ext>
                  </a:extLst>
                </a:gridCol>
                <a:gridCol w="666898">
                  <a:extLst>
                    <a:ext uri="{9D8B030D-6E8A-4147-A177-3AD203B41FA5}">
                      <a16:colId xmlns:a16="http://schemas.microsoft.com/office/drawing/2014/main" val="2923274525"/>
                    </a:ext>
                  </a:extLst>
                </a:gridCol>
                <a:gridCol w="670866">
                  <a:extLst>
                    <a:ext uri="{9D8B030D-6E8A-4147-A177-3AD203B41FA5}">
                      <a16:colId xmlns:a16="http://schemas.microsoft.com/office/drawing/2014/main" val="2113949651"/>
                    </a:ext>
                  </a:extLst>
                </a:gridCol>
                <a:gridCol w="657082">
                  <a:extLst>
                    <a:ext uri="{9D8B030D-6E8A-4147-A177-3AD203B41FA5}">
                      <a16:colId xmlns:a16="http://schemas.microsoft.com/office/drawing/2014/main" val="1837457866"/>
                    </a:ext>
                  </a:extLst>
                </a:gridCol>
              </a:tblGrid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1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2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3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4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5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183899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672270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779763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932741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, 4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366577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F53AC9C-4B12-4C35-82D3-61A7F4F11D2C}"/>
              </a:ext>
            </a:extLst>
          </p:cNvPr>
          <p:cNvSpPr/>
          <p:nvPr/>
        </p:nvSpPr>
        <p:spPr>
          <a:xfrm>
            <a:off x="6717079" y="5568296"/>
            <a:ext cx="614808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CB38CB2-5959-4DA0-AE78-4E9DD4FD2892}"/>
              </a:ext>
            </a:extLst>
          </p:cNvPr>
          <p:cNvSpPr/>
          <p:nvPr/>
        </p:nvSpPr>
        <p:spPr>
          <a:xfrm>
            <a:off x="916905" y="3760305"/>
            <a:ext cx="928066" cy="547411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9E493-B574-4C00-9261-17FBFBC229C6}"/>
              </a:ext>
            </a:extLst>
          </p:cNvPr>
          <p:cNvSpPr/>
          <p:nvPr/>
        </p:nvSpPr>
        <p:spPr>
          <a:xfrm>
            <a:off x="4035631" y="380647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433366-8834-45C8-91FF-F4FC598BD536}"/>
              </a:ext>
            </a:extLst>
          </p:cNvPr>
          <p:cNvSpPr/>
          <p:nvPr/>
        </p:nvSpPr>
        <p:spPr>
          <a:xfrm>
            <a:off x="403563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05E2BF-52B4-4231-AD4E-FE850CD2E36E}"/>
              </a:ext>
            </a:extLst>
          </p:cNvPr>
          <p:cNvSpPr/>
          <p:nvPr/>
        </p:nvSpPr>
        <p:spPr>
          <a:xfrm>
            <a:off x="471934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3079DC-4AB4-45E4-BE23-AA0A4F5C8007}"/>
              </a:ext>
            </a:extLst>
          </p:cNvPr>
          <p:cNvSpPr/>
          <p:nvPr/>
        </p:nvSpPr>
        <p:spPr>
          <a:xfrm>
            <a:off x="5382527" y="4392632"/>
            <a:ext cx="595535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2877A1-4E92-4B92-8A86-A733CFE39CCC}"/>
              </a:ext>
            </a:extLst>
          </p:cNvPr>
          <p:cNvSpPr/>
          <p:nvPr/>
        </p:nvSpPr>
        <p:spPr>
          <a:xfrm>
            <a:off x="4035630" y="497894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B1F415-63E7-4B09-A588-3EE05CD508AD}"/>
              </a:ext>
            </a:extLst>
          </p:cNvPr>
          <p:cNvSpPr/>
          <p:nvPr/>
        </p:nvSpPr>
        <p:spPr>
          <a:xfrm>
            <a:off x="4719340" y="4978948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AA911E-200C-4D1E-AEDC-900E24648A5A}"/>
              </a:ext>
            </a:extLst>
          </p:cNvPr>
          <p:cNvSpPr/>
          <p:nvPr/>
        </p:nvSpPr>
        <p:spPr>
          <a:xfrm>
            <a:off x="5382527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DC36AD-C902-4E5D-A57B-30E3A83CFFB4}"/>
              </a:ext>
            </a:extLst>
          </p:cNvPr>
          <p:cNvSpPr/>
          <p:nvPr/>
        </p:nvSpPr>
        <p:spPr>
          <a:xfrm>
            <a:off x="6045080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F326A9-030C-4E45-B17C-DC7B6DC77A7D}"/>
              </a:ext>
            </a:extLst>
          </p:cNvPr>
          <p:cNvSpPr/>
          <p:nvPr/>
        </p:nvSpPr>
        <p:spPr>
          <a:xfrm>
            <a:off x="6707633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567E85-FFEC-4A80-AAC3-1BE3FB9F6161}"/>
              </a:ext>
            </a:extLst>
          </p:cNvPr>
          <p:cNvSpPr/>
          <p:nvPr/>
        </p:nvSpPr>
        <p:spPr>
          <a:xfrm>
            <a:off x="4035630" y="5565183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185B1BE-B27D-4052-99D1-BD4CC2003BE5}"/>
              </a:ext>
            </a:extLst>
          </p:cNvPr>
          <p:cNvSpPr/>
          <p:nvPr/>
        </p:nvSpPr>
        <p:spPr>
          <a:xfrm>
            <a:off x="4719340" y="5565182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33FB5F-ACD9-4540-A889-A94812B26A9D}"/>
              </a:ext>
            </a:extLst>
          </p:cNvPr>
          <p:cNvSpPr/>
          <p:nvPr/>
        </p:nvSpPr>
        <p:spPr>
          <a:xfrm>
            <a:off x="5382527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492057-63AC-4500-B947-13643CF54D24}"/>
              </a:ext>
            </a:extLst>
          </p:cNvPr>
          <p:cNvSpPr/>
          <p:nvPr/>
        </p:nvSpPr>
        <p:spPr>
          <a:xfrm>
            <a:off x="6045080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67F52F-3730-4A9F-A2E7-9F479A55AE69}"/>
              </a:ext>
            </a:extLst>
          </p:cNvPr>
          <p:cNvSpPr/>
          <p:nvPr/>
        </p:nvSpPr>
        <p:spPr>
          <a:xfrm>
            <a:off x="6707633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8D4E397A-0A3D-4340-9C8C-6E225DFE3CE5}"/>
              </a:ext>
            </a:extLst>
          </p:cNvPr>
          <p:cNvSpPr txBox="1">
            <a:spLocks/>
          </p:cNvSpPr>
          <p:nvPr/>
        </p:nvSpPr>
        <p:spPr>
          <a:xfrm>
            <a:off x="7837896" y="3429000"/>
            <a:ext cx="3556935" cy="1549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}: </a:t>
            </a:r>
          </a:p>
          <a:p>
            <a:pPr algn="l"/>
            <a:r>
              <a:rPr lang="en-US"/>
              <a:t>Tập tổng các phần tử có thể có ở trong tập con này là 1</a:t>
            </a:r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1B37E052-1691-4F1C-AD57-DD1DB2CBCDA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}: </a:t>
            </a:r>
          </a:p>
          <a:p>
            <a:pPr algn="l"/>
            <a:r>
              <a:rPr lang="en-US"/>
              <a:t>Tập tổng có thể có ở trong tập con này là 1, 2, 3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5012C3-AF35-4D89-8139-E2ED86D3DA8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}: </a:t>
            </a:r>
          </a:p>
          <a:p>
            <a:pPr algn="l"/>
            <a:r>
              <a:rPr lang="en-US"/>
              <a:t>Tập tổng có thể có ở trong tập con là 1, 2, 3, 4, 5, 6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B9035511-EEDE-4195-9CE5-FCAD37DDCD5B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, 4}:</a:t>
            </a:r>
          </a:p>
          <a:p>
            <a:pPr algn="l"/>
            <a:r>
              <a:rPr lang="en-US"/>
              <a:t>Để ý thấy tập tổng của các tập con trước có mặt ở tập tổng của các tập con sau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73A712-F6BF-4B8C-AA49-52C853FAE877}"/>
              </a:ext>
            </a:extLst>
          </p:cNvPr>
          <p:cNvSpPr/>
          <p:nvPr/>
        </p:nvSpPr>
        <p:spPr>
          <a:xfrm>
            <a:off x="7532539" y="5524472"/>
            <a:ext cx="1212200" cy="781879"/>
          </a:xfrm>
          <a:prstGeom prst="lef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Kết quả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43E8D4E4-693D-4806-97BB-BB374A71E5E8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49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Dấu  hiệu của bài toán quy hoạch động</a:t>
            </a:r>
          </a:p>
          <a:p>
            <a:pPr algn="l"/>
            <a:r>
              <a:rPr lang="en-US">
                <a:sym typeface="Wingdings" panose="05000000000000000000" pitchFamily="2" charset="2"/>
              </a:rPr>
              <a:t> Bài toán quy hoạch độ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6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0.00221 0.09237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4606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09236 L -0.00221 0.17801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17801 L -0.00221 0.26389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9CB07"/>
                                      </p:to>
                                    </p:animClr>
                                    <p:set>
                                      <p:cBhvr>
                                        <p:cTn id="15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3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36" grpId="0" animBg="1"/>
      <p:bldP spid="7" grpId="0" animBg="1"/>
      <p:bldP spid="7" grpId="1" animBg="1"/>
      <p:bldP spid="7" grpId="2" animBg="1"/>
      <p:bldP spid="7" grpId="3" animBg="1"/>
      <p:bldP spid="18" grpId="0" animBg="1"/>
      <p:bldP spid="18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28" grpId="0"/>
      <p:bldP spid="28" grpId="1"/>
      <p:bldP spid="37" grpId="0"/>
      <p:bldP spid="37" grpId="1"/>
      <p:bldP spid="38" grpId="0"/>
      <p:bldP spid="38" grpId="1"/>
      <p:bldP spid="39" grpId="0"/>
      <p:bldP spid="39" grpId="1"/>
      <p:bldP spid="8" grpId="0" animBg="1"/>
      <p:bldP spid="40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9238" y="1669772"/>
            <a:ext cx="10252431" cy="4916558"/>
          </a:xfrm>
        </p:spPr>
        <p:txBody>
          <a:bodyPr/>
          <a:lstStyle/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input mảng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Tổng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mảng % 2 != 0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  Then return False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Tổngnửamảng = Tổng mảng /2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Matrix = [[False for x range ( Tổngnửamảng +1 ) for y in range (len(mảng)) ]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For i in range(0, n)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 Matrix[i][0] = True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For j range (1, Tổngnửamảng +1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Matrix[0][j] = Mảng[0] == j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for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n range (1, n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for j in range (1, s+1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if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M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atrix [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- 1] [j]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 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T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hen Matrix [i][j] = Matrix [i - 1] [j]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Elif j &gt;= Mảng [i]: 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  The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n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Matrix [i][j] = Matrix [i - 1] [j – Mảng[i]]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return Matrix[i-1][s]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73426" y="1122361"/>
            <a:ext cx="3750365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11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2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839499"/>
            <a:ext cx="9144000" cy="3766171"/>
          </a:xfrm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5k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s crush nhé!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Bus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5E685E-1286-435B-B753-826C30D3E68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038582" y="5506107"/>
            <a:ext cx="4032135" cy="1316010"/>
            <a:chOff x="5541" y="2991"/>
            <a:chExt cx="1630" cy="532"/>
          </a:xfrm>
          <a:solidFill>
            <a:schemeClr val="accent1"/>
          </a:solidFill>
        </p:grpSpPr>
        <p:sp>
          <p:nvSpPr>
            <p:cNvPr id="6" name="Oval 242">
              <a:extLst>
                <a:ext uri="{FF2B5EF4-FFF2-40B4-BE49-F238E27FC236}">
                  <a16:creationId xmlns:a16="http://schemas.microsoft.com/office/drawing/2014/main" id="{03189CE9-36BD-40DE-9858-B46C74062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" y="3363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243">
              <a:extLst>
                <a:ext uri="{FF2B5EF4-FFF2-40B4-BE49-F238E27FC236}">
                  <a16:creationId xmlns:a16="http://schemas.microsoft.com/office/drawing/2014/main" id="{BDAE2BDC-DD6E-4D9D-AEE0-B1B1FCA69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1" y="3400"/>
              <a:ext cx="85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44">
              <a:extLst>
                <a:ext uri="{FF2B5EF4-FFF2-40B4-BE49-F238E27FC236}">
                  <a16:creationId xmlns:a16="http://schemas.microsoft.com/office/drawing/2014/main" id="{E896D4E3-1E80-4767-814C-B333D6B4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2991"/>
              <a:ext cx="1630" cy="479"/>
            </a:xfrm>
            <a:custGeom>
              <a:avLst/>
              <a:gdLst>
                <a:gd name="T0" fmla="*/ 517 w 4727"/>
                <a:gd name="T1" fmla="*/ 244 h 1389"/>
                <a:gd name="T2" fmla="*/ 584 w 4727"/>
                <a:gd name="T3" fmla="*/ 1155 h 1389"/>
                <a:gd name="T4" fmla="*/ 350 w 4727"/>
                <a:gd name="T5" fmla="*/ 1222 h 1389"/>
                <a:gd name="T6" fmla="*/ 283 w 4727"/>
                <a:gd name="T7" fmla="*/ 311 h 1389"/>
                <a:gd name="T8" fmla="*/ 3801 w 4727"/>
                <a:gd name="T9" fmla="*/ 241 h 1389"/>
                <a:gd name="T10" fmla="*/ 4558 w 4727"/>
                <a:gd name="T11" fmla="*/ 382 h 1389"/>
                <a:gd name="T12" fmla="*/ 4491 w 4727"/>
                <a:gd name="T13" fmla="*/ 650 h 1389"/>
                <a:gd name="T14" fmla="*/ 3733 w 4727"/>
                <a:gd name="T15" fmla="*/ 583 h 1389"/>
                <a:gd name="T16" fmla="*/ 3801 w 4727"/>
                <a:gd name="T17" fmla="*/ 241 h 1389"/>
                <a:gd name="T18" fmla="*/ 3513 w 4727"/>
                <a:gd name="T19" fmla="*/ 241 h 1389"/>
                <a:gd name="T20" fmla="*/ 3580 w 4727"/>
                <a:gd name="T21" fmla="*/ 583 h 1389"/>
                <a:gd name="T22" fmla="*/ 2823 w 4727"/>
                <a:gd name="T23" fmla="*/ 650 h 1389"/>
                <a:gd name="T24" fmla="*/ 2756 w 4727"/>
                <a:gd name="T25" fmla="*/ 308 h 1389"/>
                <a:gd name="T26" fmla="*/ 1839 w 4727"/>
                <a:gd name="T27" fmla="*/ 241 h 1389"/>
                <a:gd name="T28" fmla="*/ 2597 w 4727"/>
                <a:gd name="T29" fmla="*/ 308 h 1389"/>
                <a:gd name="T30" fmla="*/ 2530 w 4727"/>
                <a:gd name="T31" fmla="*/ 650 h 1389"/>
                <a:gd name="T32" fmla="*/ 1772 w 4727"/>
                <a:gd name="T33" fmla="*/ 583 h 1389"/>
                <a:gd name="T34" fmla="*/ 1839 w 4727"/>
                <a:gd name="T35" fmla="*/ 241 h 1389"/>
                <a:gd name="T36" fmla="*/ 1543 w 4727"/>
                <a:gd name="T37" fmla="*/ 241 h 1389"/>
                <a:gd name="T38" fmla="*/ 1610 w 4727"/>
                <a:gd name="T39" fmla="*/ 583 h 1389"/>
                <a:gd name="T40" fmla="*/ 853 w 4727"/>
                <a:gd name="T41" fmla="*/ 650 h 1389"/>
                <a:gd name="T42" fmla="*/ 786 w 4727"/>
                <a:gd name="T43" fmla="*/ 308 h 1389"/>
                <a:gd name="T44" fmla="*/ 4479 w 4727"/>
                <a:gd name="T45" fmla="*/ 3 h 1389"/>
                <a:gd name="T46" fmla="*/ 2991 w 4727"/>
                <a:gd name="T47" fmla="*/ 6 h 1389"/>
                <a:gd name="T48" fmla="*/ 1832 w 4727"/>
                <a:gd name="T49" fmla="*/ 8 h 1389"/>
                <a:gd name="T50" fmla="*/ 159 w 4727"/>
                <a:gd name="T51" fmla="*/ 5 h 1389"/>
                <a:gd name="T52" fmla="*/ 62 w 4727"/>
                <a:gd name="T53" fmla="*/ 695 h 1389"/>
                <a:gd name="T54" fmla="*/ 0 w 4727"/>
                <a:gd name="T55" fmla="*/ 1051 h 1389"/>
                <a:gd name="T56" fmla="*/ 94 w 4727"/>
                <a:gd name="T57" fmla="*/ 1384 h 1389"/>
                <a:gd name="T58" fmla="*/ 783 w 4727"/>
                <a:gd name="T59" fmla="*/ 1384 h 1389"/>
                <a:gd name="T60" fmla="*/ 1062 w 4727"/>
                <a:gd name="T61" fmla="*/ 1015 h 1389"/>
                <a:gd name="T62" fmla="*/ 1333 w 4727"/>
                <a:gd name="T63" fmla="*/ 1384 h 1389"/>
                <a:gd name="T64" fmla="*/ 3154 w 4727"/>
                <a:gd name="T65" fmla="*/ 1386 h 1389"/>
                <a:gd name="T66" fmla="*/ 3438 w 4727"/>
                <a:gd name="T67" fmla="*/ 1018 h 1389"/>
                <a:gd name="T68" fmla="*/ 3721 w 4727"/>
                <a:gd name="T69" fmla="*/ 1389 h 1389"/>
                <a:gd name="T70" fmla="*/ 4725 w 4727"/>
                <a:gd name="T71" fmla="*/ 219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27" h="1389">
                  <a:moveTo>
                    <a:pt x="350" y="244"/>
                  </a:moveTo>
                  <a:lnTo>
                    <a:pt x="517" y="244"/>
                  </a:lnTo>
                  <a:cubicBezTo>
                    <a:pt x="554" y="244"/>
                    <a:pt x="584" y="273"/>
                    <a:pt x="584" y="311"/>
                  </a:cubicBezTo>
                  <a:lnTo>
                    <a:pt x="584" y="1155"/>
                  </a:lnTo>
                  <a:cubicBezTo>
                    <a:pt x="584" y="1192"/>
                    <a:pt x="554" y="1222"/>
                    <a:pt x="517" y="1222"/>
                  </a:cubicBezTo>
                  <a:lnTo>
                    <a:pt x="350" y="1222"/>
                  </a:lnTo>
                  <a:cubicBezTo>
                    <a:pt x="313" y="1222"/>
                    <a:pt x="283" y="1192"/>
                    <a:pt x="283" y="1155"/>
                  </a:cubicBezTo>
                  <a:lnTo>
                    <a:pt x="283" y="311"/>
                  </a:lnTo>
                  <a:cubicBezTo>
                    <a:pt x="283" y="273"/>
                    <a:pt x="313" y="244"/>
                    <a:pt x="350" y="244"/>
                  </a:cubicBezTo>
                  <a:close/>
                  <a:moveTo>
                    <a:pt x="3801" y="241"/>
                  </a:moveTo>
                  <a:lnTo>
                    <a:pt x="4364" y="241"/>
                  </a:lnTo>
                  <a:cubicBezTo>
                    <a:pt x="4478" y="241"/>
                    <a:pt x="4558" y="311"/>
                    <a:pt x="4558" y="382"/>
                  </a:cubicBezTo>
                  <a:lnTo>
                    <a:pt x="4558" y="583"/>
                  </a:lnTo>
                  <a:cubicBezTo>
                    <a:pt x="4558" y="620"/>
                    <a:pt x="4528" y="650"/>
                    <a:pt x="4491" y="650"/>
                  </a:cubicBezTo>
                  <a:lnTo>
                    <a:pt x="3801" y="650"/>
                  </a:lnTo>
                  <a:cubicBezTo>
                    <a:pt x="3763" y="650"/>
                    <a:pt x="3733" y="620"/>
                    <a:pt x="3733" y="583"/>
                  </a:cubicBezTo>
                  <a:lnTo>
                    <a:pt x="3733" y="308"/>
                  </a:lnTo>
                  <a:cubicBezTo>
                    <a:pt x="3733" y="271"/>
                    <a:pt x="3763" y="241"/>
                    <a:pt x="3801" y="241"/>
                  </a:cubicBezTo>
                  <a:close/>
                  <a:moveTo>
                    <a:pt x="2823" y="241"/>
                  </a:moveTo>
                  <a:lnTo>
                    <a:pt x="3513" y="241"/>
                  </a:lnTo>
                  <a:cubicBezTo>
                    <a:pt x="3550" y="241"/>
                    <a:pt x="3580" y="271"/>
                    <a:pt x="3580" y="308"/>
                  </a:cubicBezTo>
                  <a:lnTo>
                    <a:pt x="3580" y="583"/>
                  </a:lnTo>
                  <a:cubicBezTo>
                    <a:pt x="3580" y="620"/>
                    <a:pt x="3550" y="650"/>
                    <a:pt x="3513" y="650"/>
                  </a:cubicBezTo>
                  <a:lnTo>
                    <a:pt x="2823" y="650"/>
                  </a:lnTo>
                  <a:cubicBezTo>
                    <a:pt x="2786" y="650"/>
                    <a:pt x="2756" y="620"/>
                    <a:pt x="2756" y="583"/>
                  </a:cubicBezTo>
                  <a:lnTo>
                    <a:pt x="2756" y="308"/>
                  </a:lnTo>
                  <a:cubicBezTo>
                    <a:pt x="2756" y="271"/>
                    <a:pt x="2786" y="241"/>
                    <a:pt x="2823" y="241"/>
                  </a:cubicBezTo>
                  <a:close/>
                  <a:moveTo>
                    <a:pt x="1839" y="241"/>
                  </a:moveTo>
                  <a:lnTo>
                    <a:pt x="2530" y="241"/>
                  </a:lnTo>
                  <a:cubicBezTo>
                    <a:pt x="2567" y="241"/>
                    <a:pt x="2597" y="271"/>
                    <a:pt x="2597" y="308"/>
                  </a:cubicBezTo>
                  <a:lnTo>
                    <a:pt x="2597" y="583"/>
                  </a:lnTo>
                  <a:cubicBezTo>
                    <a:pt x="2597" y="620"/>
                    <a:pt x="2567" y="650"/>
                    <a:pt x="2530" y="650"/>
                  </a:cubicBezTo>
                  <a:lnTo>
                    <a:pt x="1839" y="650"/>
                  </a:lnTo>
                  <a:cubicBezTo>
                    <a:pt x="1802" y="650"/>
                    <a:pt x="1772" y="620"/>
                    <a:pt x="1772" y="583"/>
                  </a:cubicBezTo>
                  <a:lnTo>
                    <a:pt x="1772" y="308"/>
                  </a:lnTo>
                  <a:cubicBezTo>
                    <a:pt x="1772" y="271"/>
                    <a:pt x="1802" y="241"/>
                    <a:pt x="1839" y="241"/>
                  </a:cubicBezTo>
                  <a:close/>
                  <a:moveTo>
                    <a:pt x="853" y="241"/>
                  </a:moveTo>
                  <a:lnTo>
                    <a:pt x="1543" y="241"/>
                  </a:lnTo>
                  <a:cubicBezTo>
                    <a:pt x="1580" y="241"/>
                    <a:pt x="1610" y="271"/>
                    <a:pt x="1610" y="308"/>
                  </a:cubicBezTo>
                  <a:lnTo>
                    <a:pt x="1610" y="583"/>
                  </a:lnTo>
                  <a:cubicBezTo>
                    <a:pt x="1610" y="620"/>
                    <a:pt x="1580" y="650"/>
                    <a:pt x="1543" y="650"/>
                  </a:cubicBezTo>
                  <a:lnTo>
                    <a:pt x="853" y="650"/>
                  </a:lnTo>
                  <a:cubicBezTo>
                    <a:pt x="816" y="650"/>
                    <a:pt x="786" y="620"/>
                    <a:pt x="786" y="583"/>
                  </a:cubicBezTo>
                  <a:lnTo>
                    <a:pt x="786" y="308"/>
                  </a:lnTo>
                  <a:cubicBezTo>
                    <a:pt x="786" y="271"/>
                    <a:pt x="816" y="241"/>
                    <a:pt x="853" y="241"/>
                  </a:cubicBezTo>
                  <a:close/>
                  <a:moveTo>
                    <a:pt x="4479" y="3"/>
                  </a:moveTo>
                  <a:lnTo>
                    <a:pt x="3570" y="4"/>
                  </a:lnTo>
                  <a:lnTo>
                    <a:pt x="2991" y="6"/>
                  </a:lnTo>
                  <a:lnTo>
                    <a:pt x="2411" y="7"/>
                  </a:lnTo>
                  <a:lnTo>
                    <a:pt x="1832" y="8"/>
                  </a:lnTo>
                  <a:lnTo>
                    <a:pt x="1253" y="9"/>
                  </a:lnTo>
                  <a:lnTo>
                    <a:pt x="159" y="5"/>
                  </a:lnTo>
                  <a:cubicBezTo>
                    <a:pt x="122" y="8"/>
                    <a:pt x="92" y="32"/>
                    <a:pt x="90" y="67"/>
                  </a:cubicBezTo>
                  <a:lnTo>
                    <a:pt x="62" y="695"/>
                  </a:lnTo>
                  <a:lnTo>
                    <a:pt x="0" y="743"/>
                  </a:lnTo>
                  <a:lnTo>
                    <a:pt x="0" y="1051"/>
                  </a:lnTo>
                  <a:lnTo>
                    <a:pt x="1" y="1287"/>
                  </a:lnTo>
                  <a:cubicBezTo>
                    <a:pt x="0" y="1349"/>
                    <a:pt x="47" y="1383"/>
                    <a:pt x="94" y="1384"/>
                  </a:cubicBezTo>
                  <a:lnTo>
                    <a:pt x="570" y="1384"/>
                  </a:lnTo>
                  <a:lnTo>
                    <a:pt x="783" y="1384"/>
                  </a:lnTo>
                  <a:cubicBezTo>
                    <a:pt x="772" y="1356"/>
                    <a:pt x="766" y="1342"/>
                    <a:pt x="766" y="1309"/>
                  </a:cubicBezTo>
                  <a:cubicBezTo>
                    <a:pt x="763" y="1147"/>
                    <a:pt x="894" y="1015"/>
                    <a:pt x="1062" y="1015"/>
                  </a:cubicBezTo>
                  <a:cubicBezTo>
                    <a:pt x="1236" y="1015"/>
                    <a:pt x="1351" y="1161"/>
                    <a:pt x="1350" y="1309"/>
                  </a:cubicBezTo>
                  <a:cubicBezTo>
                    <a:pt x="1350" y="1342"/>
                    <a:pt x="1343" y="1356"/>
                    <a:pt x="1333" y="1384"/>
                  </a:cubicBezTo>
                  <a:lnTo>
                    <a:pt x="2352" y="1384"/>
                  </a:lnTo>
                  <a:lnTo>
                    <a:pt x="3154" y="1386"/>
                  </a:lnTo>
                  <a:cubicBezTo>
                    <a:pt x="3143" y="1358"/>
                    <a:pt x="3137" y="1344"/>
                    <a:pt x="3137" y="1311"/>
                  </a:cubicBezTo>
                  <a:cubicBezTo>
                    <a:pt x="3135" y="1148"/>
                    <a:pt x="3266" y="1016"/>
                    <a:pt x="3438" y="1018"/>
                  </a:cubicBezTo>
                  <a:cubicBezTo>
                    <a:pt x="3612" y="1018"/>
                    <a:pt x="3723" y="1160"/>
                    <a:pt x="3723" y="1309"/>
                  </a:cubicBezTo>
                  <a:cubicBezTo>
                    <a:pt x="3724" y="1352"/>
                    <a:pt x="3721" y="1368"/>
                    <a:pt x="3721" y="1389"/>
                  </a:cubicBezTo>
                  <a:lnTo>
                    <a:pt x="4720" y="1190"/>
                  </a:lnTo>
                  <a:lnTo>
                    <a:pt x="4725" y="219"/>
                  </a:lnTo>
                  <a:cubicBezTo>
                    <a:pt x="4727" y="109"/>
                    <a:pt x="4589" y="0"/>
                    <a:pt x="4479" y="3"/>
                  </a:cubicBez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245">
              <a:extLst>
                <a:ext uri="{FF2B5EF4-FFF2-40B4-BE49-F238E27FC236}">
                  <a16:creationId xmlns:a16="http://schemas.microsoft.com/office/drawing/2014/main" id="{46A2E106-8B26-4C1C-B680-BBA85119E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7" y="3365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246">
              <a:extLst>
                <a:ext uri="{FF2B5EF4-FFF2-40B4-BE49-F238E27FC236}">
                  <a16:creationId xmlns:a16="http://schemas.microsoft.com/office/drawing/2014/main" id="{21D41689-EFA7-415F-AB6D-5986E31BF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" y="3401"/>
              <a:ext cx="86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Business_Peopl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214825E-E7F0-4321-AE2B-C114ADDEDC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243346" y="5701719"/>
            <a:ext cx="1829526" cy="1136542"/>
            <a:chOff x="1575" y="1315"/>
            <a:chExt cx="4533" cy="2816"/>
          </a:xfrm>
          <a:solidFill>
            <a:schemeClr val="accent1"/>
          </a:solidFill>
        </p:grpSpPr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id="{908FD5D5-2029-4D3D-B82E-DAB6D5625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id="{25F4A325-A38F-4C41-827E-9384AAAF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id="{C0E8812F-20CC-4D9E-B868-2240C13E6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id="{5BC6EDBE-41B7-427F-A87C-967B74EF5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id="{1FFF0A7B-ECA1-47E7-B9D2-46DCE97BD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id="{5F5ABD5D-6C40-40B7-90A8-C4B8B802F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id="{66B713E7-91CA-491E-BE86-72FCD889A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id="{BCCC648E-486A-42FB-83BB-19DA1BA5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CBDD2204-3259-4799-83A7-97DE20E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3072785F-B6F7-40A3-8170-82DA61E3C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222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062330" cy="547411"/>
          </a:xfrm>
        </p:spPr>
        <p:txBody>
          <a:bodyPr/>
          <a:lstStyle/>
          <a:p>
            <a:r>
              <a:rPr lang="en-US" sz="4000"/>
              <a:t>Bài 2: Decomposi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462" y="1855303"/>
            <a:ext cx="9329530" cy="2160105"/>
          </a:xfrm>
          <a:ln>
            <a:noFill/>
          </a:ln>
        </p:spPr>
        <p:txBody>
          <a:bodyPr/>
          <a:lstStyle/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1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2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3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…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n ngày</a:t>
            </a:r>
          </a:p>
          <a:p>
            <a:pPr algn="just"/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99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235" y="1669773"/>
            <a:ext cx="9329530" cy="4386470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5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4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ới crush nhé!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C6D165-2676-43C4-98F4-92BB7A13F7E9}"/>
              </a:ext>
            </a:extLst>
          </p:cNvPr>
          <p:cNvCxnSpPr/>
          <p:nvPr/>
        </p:nvCxnSpPr>
        <p:spPr>
          <a:xfrm>
            <a:off x="8150087" y="2478157"/>
            <a:ext cx="715617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865027-930B-4E8A-B269-1834AF6017F3}"/>
              </a:ext>
            </a:extLst>
          </p:cNvPr>
          <p:cNvCxnSpPr>
            <a:cxnSpLocks/>
          </p:cNvCxnSpPr>
          <p:nvPr/>
        </p:nvCxnSpPr>
        <p:spPr>
          <a:xfrm>
            <a:off x="3379304" y="4128053"/>
            <a:ext cx="1020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D37F27-16A4-46D2-A831-E09299659FF7}"/>
              </a:ext>
            </a:extLst>
          </p:cNvPr>
          <p:cNvCxnSpPr>
            <a:cxnSpLocks/>
          </p:cNvCxnSpPr>
          <p:nvPr/>
        </p:nvCxnSpPr>
        <p:spPr>
          <a:xfrm>
            <a:off x="3379304" y="3048001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E816E5-8241-4F73-B446-2016E88023A9}"/>
              </a:ext>
            </a:extLst>
          </p:cNvPr>
          <p:cNvCxnSpPr>
            <a:cxnSpLocks/>
          </p:cNvCxnSpPr>
          <p:nvPr/>
        </p:nvCxnSpPr>
        <p:spPr>
          <a:xfrm>
            <a:off x="3379304" y="3578087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3A005A-9E58-42B7-AFF8-C38FFD30678E}"/>
              </a:ext>
            </a:extLst>
          </p:cNvPr>
          <p:cNvCxnSpPr>
            <a:cxnSpLocks/>
          </p:cNvCxnSpPr>
          <p:nvPr/>
        </p:nvCxnSpPr>
        <p:spPr>
          <a:xfrm>
            <a:off x="4777408" y="3054628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71A924-7E5D-4EFA-A15A-6EB67C203C6E}"/>
              </a:ext>
            </a:extLst>
          </p:cNvPr>
          <p:cNvCxnSpPr>
            <a:cxnSpLocks/>
          </p:cNvCxnSpPr>
          <p:nvPr/>
        </p:nvCxnSpPr>
        <p:spPr>
          <a:xfrm>
            <a:off x="4777408" y="3584714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967F3A1-5AB3-41C5-BFD6-C7023199B5D0}"/>
              </a:ext>
            </a:extLst>
          </p:cNvPr>
          <p:cNvCxnSpPr>
            <a:cxnSpLocks/>
          </p:cNvCxnSpPr>
          <p:nvPr/>
        </p:nvCxnSpPr>
        <p:spPr>
          <a:xfrm>
            <a:off x="4906617" y="4128053"/>
            <a:ext cx="434009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F6019E-6FFC-428E-B4C5-012DC376E6E9}"/>
              </a:ext>
            </a:extLst>
          </p:cNvPr>
          <p:cNvCxnSpPr>
            <a:cxnSpLocks/>
          </p:cNvCxnSpPr>
          <p:nvPr/>
        </p:nvCxnSpPr>
        <p:spPr>
          <a:xfrm>
            <a:off x="8295861" y="4750905"/>
            <a:ext cx="1603513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CA810DB-CA6C-4926-AF9A-83173AB828CE}"/>
              </a:ext>
            </a:extLst>
          </p:cNvPr>
          <p:cNvCxnSpPr>
            <a:cxnSpLocks/>
          </p:cNvCxnSpPr>
          <p:nvPr/>
        </p:nvCxnSpPr>
        <p:spPr>
          <a:xfrm>
            <a:off x="10568609" y="4750905"/>
            <a:ext cx="19215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3AAB67-8C42-45FF-AC96-228CD8EBE1BC}"/>
              </a:ext>
            </a:extLst>
          </p:cNvPr>
          <p:cNvCxnSpPr>
            <a:cxnSpLocks/>
          </p:cNvCxnSpPr>
          <p:nvPr/>
        </p:nvCxnSpPr>
        <p:spPr>
          <a:xfrm>
            <a:off x="7142922" y="5565914"/>
            <a:ext cx="887895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46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3670" y="1910894"/>
            <a:ext cx="9329530" cy="1550505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UT: mảng days gồm n phần tử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ó 3 loại: 1 ngày 2k, 7 ngày 7k, 30 ngày 25k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: chi phí tối thiểu?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0382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976729" cy="547411"/>
          </a:xfrm>
        </p:spPr>
        <p:txBody>
          <a:bodyPr/>
          <a:lstStyle/>
          <a:p>
            <a:r>
              <a:rPr lang="en-US" sz="40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02538"/>
            <a:ext cx="9144000" cy="4141671"/>
          </a:xfrm>
        </p:spPr>
        <p:txBody>
          <a:bodyPr/>
          <a:lstStyle/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Calibri"/>
              </a:rPr>
              <a:t>V</a:t>
            </a:r>
            <a:r>
              <a:rPr lang="en-US" sz="2000" dirty="0" err="1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í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 d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ụ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 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ẫ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  <a:cs typeface="Calibri"/>
              </a:rPr>
              <a:t>u: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 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M</a:t>
            </a:r>
            <a:r>
              <a:rPr lang="vi-VN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ả</a:t>
            </a:r>
            <a:r>
              <a:rPr lang="en-US" sz="2000" dirty="0">
                <a:solidFill>
                  <a:schemeClr val="tx1"/>
                </a:solidFill>
                <a:effectLst/>
                <a:latin typeface="Calibri"/>
                <a:ea typeface="Times New Roman" panose="02020603050405020304" pitchFamily="18" charset="0"/>
              </a:rPr>
              <a:t>ng days = {1}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Có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ườ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hợ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7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30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.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ua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vé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gà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í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ố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(2k)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ê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đây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quả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4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6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}.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ảng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days = {1, 3, 5, 7, 29}.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ấp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à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 9k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=&gt; 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mỗi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l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xét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ê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1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ần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hì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tìm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chi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phí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ỏ</a:t>
            </a:r>
            <a:r>
              <a:rPr lang="en-US" sz="20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</a:rPr>
              <a:t>nhất</a:t>
            </a:r>
            <a:endParaRPr lang="en-US" sz="2000" dirty="0">
              <a:solidFill>
                <a:schemeClr val="tx1"/>
              </a:solidFill>
              <a:latin typeface="Calibri"/>
              <a:ea typeface="Times New Roman" panose="02020603050405020304" pitchFamily="18" charset="0"/>
            </a:endParaRP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82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0EB00D62-92FE-4206-BA5D-C6E7F71026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460910"/>
              </p:ext>
            </p:extLst>
          </p:nvPr>
        </p:nvGraphicFramePr>
        <p:xfrm>
          <a:off x="900953" y="1196889"/>
          <a:ext cx="9977018" cy="5486404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772785">
                  <a:extLst>
                    <a:ext uri="{9D8B030D-6E8A-4147-A177-3AD203B41FA5}">
                      <a16:colId xmlns:a16="http://schemas.microsoft.com/office/drawing/2014/main" val="1414237224"/>
                    </a:ext>
                  </a:extLst>
                </a:gridCol>
                <a:gridCol w="1338265">
                  <a:extLst>
                    <a:ext uri="{9D8B030D-6E8A-4147-A177-3AD203B41FA5}">
                      <a16:colId xmlns:a16="http://schemas.microsoft.com/office/drawing/2014/main" val="641552895"/>
                    </a:ext>
                  </a:extLst>
                </a:gridCol>
                <a:gridCol w="1302119">
                  <a:extLst>
                    <a:ext uri="{9D8B030D-6E8A-4147-A177-3AD203B41FA5}">
                      <a16:colId xmlns:a16="http://schemas.microsoft.com/office/drawing/2014/main" val="3901126404"/>
                    </a:ext>
                  </a:extLst>
                </a:gridCol>
                <a:gridCol w="1347908">
                  <a:extLst>
                    <a:ext uri="{9D8B030D-6E8A-4147-A177-3AD203B41FA5}">
                      <a16:colId xmlns:a16="http://schemas.microsoft.com/office/drawing/2014/main" val="956546972"/>
                    </a:ext>
                  </a:extLst>
                </a:gridCol>
                <a:gridCol w="1378016">
                  <a:extLst>
                    <a:ext uri="{9D8B030D-6E8A-4147-A177-3AD203B41FA5}">
                      <a16:colId xmlns:a16="http://schemas.microsoft.com/office/drawing/2014/main" val="1702516680"/>
                    </a:ext>
                  </a:extLst>
                </a:gridCol>
                <a:gridCol w="1417765">
                  <a:extLst>
                    <a:ext uri="{9D8B030D-6E8A-4147-A177-3AD203B41FA5}">
                      <a16:colId xmlns:a16="http://schemas.microsoft.com/office/drawing/2014/main" val="2307264281"/>
                    </a:ext>
                  </a:extLst>
                </a:gridCol>
                <a:gridCol w="1420160">
                  <a:extLst>
                    <a:ext uri="{9D8B030D-6E8A-4147-A177-3AD203B41FA5}">
                      <a16:colId xmlns:a16="http://schemas.microsoft.com/office/drawing/2014/main" val="2847871517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0]=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1]=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2]=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3]=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4]=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ys[5]=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958655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dp(3)+2=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1573012"/>
                  </a:ext>
                </a:extLst>
              </a:tr>
              <a:tr h="391886">
                <a:tc rowSpan="5"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7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7=1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7=1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37876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7=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endParaRPr lang="en-US" sz="1600" b="0" i="0" u="none" strike="noStrike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477734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7=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08027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7=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233589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032274"/>
                  </a:ext>
                </a:extLst>
              </a:tr>
              <a:tr h="391886">
                <a:tc rowSpan="6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0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gày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25k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US" sz="1600" b="0" u="none" strike="noStrike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)+</a:t>
                      </a:r>
                      <a:r>
                        <a:rPr lang="en-US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+25=3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021208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+25=3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30816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+25=2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27905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+25=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304531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u="none" strike="noStrike" noProof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600" b="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0)+25=2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250433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2724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p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] = min( ) =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67649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579BF6F4-54D5-447E-B8B4-3726087F66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8623" y="371175"/>
            <a:ext cx="3869368" cy="354397"/>
          </a:xfrm>
        </p:spPr>
        <p:txBody>
          <a:bodyPr/>
          <a:lstStyle/>
          <a:p>
            <a:r>
              <a:rPr lang="en-US" sz="24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202F1174-A2EC-4A1C-974D-D93B55045DAD}"/>
              </a:ext>
            </a:extLst>
          </p:cNvPr>
          <p:cNvSpPr/>
          <p:nvPr/>
        </p:nvSpPr>
        <p:spPr>
          <a:xfrm rot="5400000">
            <a:off x="-223441" y="275824"/>
            <a:ext cx="928281" cy="48139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48D7A0-576A-4E54-95A0-2ED5508F44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159873"/>
              </p:ext>
            </p:extLst>
          </p:nvPr>
        </p:nvGraphicFramePr>
        <p:xfrm>
          <a:off x="2673307" y="1588775"/>
          <a:ext cx="1338265" cy="5094518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1338265">
                  <a:extLst>
                    <a:ext uri="{9D8B030D-6E8A-4147-A177-3AD203B41FA5}">
                      <a16:colId xmlns:a16="http://schemas.microsoft.com/office/drawing/2014/main" val="687459296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222147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289225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5980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939638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4779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204549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88208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88194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6607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83013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81691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83667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390585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E74AC00-B720-4848-B5F2-7AB02A319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654015"/>
              </p:ext>
            </p:extLst>
          </p:nvPr>
        </p:nvGraphicFramePr>
        <p:xfrm>
          <a:off x="4013049" y="1978925"/>
          <a:ext cx="1299511" cy="1963235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29951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2647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2647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EB0AAA1D-1AF4-44AE-A870-D47305963A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901689"/>
              </p:ext>
            </p:extLst>
          </p:nvPr>
        </p:nvGraphicFramePr>
        <p:xfrm>
          <a:off x="4013049" y="3940091"/>
          <a:ext cx="1302119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02119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065BC34E-29DA-47FA-817F-01F42ACDE8E9}"/>
              </a:ext>
            </a:extLst>
          </p:cNvPr>
          <p:cNvSpPr/>
          <p:nvPr/>
        </p:nvSpPr>
        <p:spPr>
          <a:xfrm>
            <a:off x="4035458" y="1612878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0)+2=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03EF29B-E479-41B5-B97B-F837BF702AFE}"/>
              </a:ext>
            </a:extLst>
          </p:cNvPr>
          <p:cNvSpPr/>
          <p:nvPr/>
        </p:nvSpPr>
        <p:spPr>
          <a:xfrm>
            <a:off x="403545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A747DF0-B84B-4A37-BD26-83F5FD9E2A1F}"/>
              </a:ext>
            </a:extLst>
          </p:cNvPr>
          <p:cNvSpPr/>
          <p:nvPr/>
        </p:nvSpPr>
        <p:spPr>
          <a:xfrm>
            <a:off x="539049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7B175E-3650-48FC-B3C0-B7ABF61B62F8}"/>
              </a:ext>
            </a:extLst>
          </p:cNvPr>
          <p:cNvSpPr/>
          <p:nvPr/>
        </p:nvSpPr>
        <p:spPr>
          <a:xfrm>
            <a:off x="6745527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41D415-9495-4F87-85D4-602918F76936}"/>
              </a:ext>
            </a:extLst>
          </p:cNvPr>
          <p:cNvSpPr/>
          <p:nvPr/>
        </p:nvSpPr>
        <p:spPr>
          <a:xfrm>
            <a:off x="8100562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9ED1AB-52A1-4376-BC35-F49216A6CC24}"/>
              </a:ext>
            </a:extLst>
          </p:cNvPr>
          <p:cNvSpPr/>
          <p:nvPr/>
        </p:nvSpPr>
        <p:spPr>
          <a:xfrm>
            <a:off x="9489266" y="6338869"/>
            <a:ext cx="1221431" cy="313300"/>
          </a:xfrm>
          <a:prstGeom prst="rect">
            <a:avLst/>
          </a:prstGeom>
          <a:solidFill>
            <a:srgbClr val="FEF5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D4FD6F60-652D-488E-81B6-7C585F97E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301446"/>
              </p:ext>
            </p:extLst>
          </p:nvPr>
        </p:nvGraphicFramePr>
        <p:xfrm>
          <a:off x="6663349" y="1980661"/>
          <a:ext cx="1380134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C5165D6B-CC14-49E5-8279-646AE04AE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620875"/>
              </p:ext>
            </p:extLst>
          </p:nvPr>
        </p:nvGraphicFramePr>
        <p:xfrm>
          <a:off x="8043483" y="1984269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8CECB10-D23F-4F04-A1D3-6765B59B1A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268643"/>
              </p:ext>
            </p:extLst>
          </p:nvPr>
        </p:nvGraphicFramePr>
        <p:xfrm>
          <a:off x="9458890" y="1980661"/>
          <a:ext cx="1416106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6106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768AAC32-C476-40C5-9FBE-30B6621360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914657"/>
              </p:ext>
            </p:extLst>
          </p:nvPr>
        </p:nvGraphicFramePr>
        <p:xfrm>
          <a:off x="5315168" y="1980661"/>
          <a:ext cx="1348181" cy="1959430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8181">
                  <a:extLst>
                    <a:ext uri="{9D8B030D-6E8A-4147-A177-3AD203B41FA5}">
                      <a16:colId xmlns:a16="http://schemas.microsoft.com/office/drawing/2014/main" val="2771459910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2548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40899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2916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3499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993800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8BBEF51B-77E9-410E-8E9C-56D965684E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19207"/>
              </p:ext>
            </p:extLst>
          </p:nvPr>
        </p:nvGraphicFramePr>
        <p:xfrm>
          <a:off x="5319989" y="3940091"/>
          <a:ext cx="1340385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40385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9D89E95-8558-45F8-AB98-BD917CAAE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319152"/>
              </p:ext>
            </p:extLst>
          </p:nvPr>
        </p:nvGraphicFramePr>
        <p:xfrm>
          <a:off x="6660374" y="3940091"/>
          <a:ext cx="1380134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380134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B7D9CF12-7288-4A51-8F81-EE74FE718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28230"/>
              </p:ext>
            </p:extLst>
          </p:nvPr>
        </p:nvGraphicFramePr>
        <p:xfrm>
          <a:off x="8040508" y="3940091"/>
          <a:ext cx="1422056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22056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0E2119BD-0DBA-4048-908D-8CCE8FF361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953220"/>
              </p:ext>
            </p:extLst>
          </p:nvPr>
        </p:nvGraphicFramePr>
        <p:xfrm>
          <a:off x="9462564" y="3940091"/>
          <a:ext cx="1412432" cy="2351316"/>
        </p:xfrm>
        <a:graphic>
          <a:graphicData uri="http://schemas.openxmlformats.org/drawingml/2006/table">
            <a:tbl>
              <a:tblPr firstRow="1">
                <a:tableStyleId>{F5AB1C69-6EDB-4FF4-983F-18BD219EF322}</a:tableStyleId>
              </a:tblPr>
              <a:tblGrid>
                <a:gridCol w="1412432">
                  <a:extLst>
                    <a:ext uri="{9D8B030D-6E8A-4147-A177-3AD203B41FA5}">
                      <a16:colId xmlns:a16="http://schemas.microsoft.com/office/drawing/2014/main" val="2140124031"/>
                    </a:ext>
                  </a:extLst>
                </a:gridCol>
              </a:tblGrid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649232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223350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168342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895573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54904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B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79724"/>
                  </a:ext>
                </a:extLst>
              </a:tr>
            </a:tbl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63A51E16-F22F-4D9E-AF2A-6BF4A8A1CA8E}"/>
              </a:ext>
            </a:extLst>
          </p:cNvPr>
          <p:cNvSpPr/>
          <p:nvPr/>
        </p:nvSpPr>
        <p:spPr>
          <a:xfrm>
            <a:off x="5360608" y="161287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1)+2=4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DA7D351-BCC3-45C1-A034-9F7C2F1EAFE7}"/>
              </a:ext>
            </a:extLst>
          </p:cNvPr>
          <p:cNvSpPr/>
          <p:nvPr/>
        </p:nvSpPr>
        <p:spPr>
          <a:xfrm>
            <a:off x="6709644" y="1614237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2)+2=6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79DDD96-868F-4409-9E31-7933608F2309}"/>
              </a:ext>
            </a:extLst>
          </p:cNvPr>
          <p:cNvSpPr/>
          <p:nvPr/>
        </p:nvSpPr>
        <p:spPr>
          <a:xfrm>
            <a:off x="8049531" y="3204242"/>
            <a:ext cx="1272461" cy="263178"/>
          </a:xfrm>
          <a:prstGeom prst="rect">
            <a:avLst/>
          </a:prstGeom>
          <a:solidFill>
            <a:srgbClr val="D3D6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65760"/>
            <a:r>
              <a:rPr lang="en-US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p(0)+7=7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BA799C-46EE-42CC-AD22-0A4C95DB3CF6}"/>
              </a:ext>
            </a:extLst>
          </p:cNvPr>
          <p:cNvSpPr/>
          <p:nvPr/>
        </p:nvSpPr>
        <p:spPr>
          <a:xfrm>
            <a:off x="9489266" y="1598276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dp(4)+2=9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CBA3A43-BB12-4610-A750-66C4490A3FF9}"/>
              </a:ext>
            </a:extLst>
          </p:cNvPr>
          <p:cNvSpPr/>
          <p:nvPr/>
        </p:nvSpPr>
        <p:spPr>
          <a:xfrm>
            <a:off x="8122886" y="1611000"/>
            <a:ext cx="1257300" cy="334923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6487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26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2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5" presetClass="emph" presetSubtype="0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51" dur="indefinite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5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"/>
                            </p:stCondLst>
                            <p:childTnLst>
                              <p:par>
                                <p:cTn id="74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75" dur="indefinite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7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9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5" presetClass="emph" presetSubtype="0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02" dur="indefinit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0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500"/>
                            </p:stCondLst>
                            <p:childTnLst>
                              <p:par>
                                <p:cTn id="10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"/>
                            </p:stCondLst>
                            <p:childTnLst>
                              <p:par>
                                <p:cTn id="125" presetID="15" presetClass="emph" presetSubtype="0" grpId="2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26" dur="indefinite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12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5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0" grpId="1"/>
      <p:bldP spid="30" grpId="2"/>
      <p:bldP spid="31" grpId="0" animBg="1"/>
      <p:bldP spid="32" grpId="0" animBg="1"/>
      <p:bldP spid="33" grpId="0" animBg="1"/>
      <p:bldP spid="34" grpId="0" animBg="1"/>
      <p:bldP spid="35" grpId="0" animBg="1"/>
      <p:bldP spid="45" grpId="0" animBg="1"/>
      <p:bldP spid="45" grpId="1"/>
      <p:bldP spid="45" grpId="2"/>
      <p:bldP spid="46" grpId="0" animBg="1"/>
      <p:bldP spid="46" grpId="1"/>
      <p:bldP spid="46" grpId="2"/>
      <p:bldP spid="47" grpId="0" animBg="1"/>
      <p:bldP spid="47" grpId="1"/>
      <p:bldP spid="47" grpId="2"/>
      <p:bldP spid="48" grpId="0" animBg="1"/>
      <p:bldP spid="48" grpId="1"/>
      <p:bldP spid="48" grpId="2"/>
      <p:bldP spid="4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56E585F-FA6B-4F7A-9AF3-77002E15F7C9}"/>
              </a:ext>
            </a:extLst>
          </p:cNvPr>
          <p:cNvSpPr txBox="1">
            <a:spLocks/>
          </p:cNvSpPr>
          <p:nvPr/>
        </p:nvSpPr>
        <p:spPr>
          <a:xfrm>
            <a:off x="743581" y="1122361"/>
            <a:ext cx="4452731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2: Algorith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3183" y="2112989"/>
            <a:ext cx="9144000" cy="4200941"/>
          </a:xfrm>
        </p:spPr>
        <p:txBody>
          <a:bodyPr/>
          <a:lstStyle/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n=size of days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=new int[n+1]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0]=0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for 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 = 1 to n: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     X1=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i-1]+2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>
                <a:latin typeface="Consolas" panose="020B0609020204030204" pitchFamily="49" charset="0"/>
              </a:rPr>
              <a:t>        X2=min(arr[i-k]+7 for k = 0 to j (with days[i]-days[i-j-1]&gt;=7))</a:t>
            </a:r>
            <a:endParaRPr lang="en-US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     X3=min(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-k]+30 for k = 0 to j (with days[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]-days[i-j-1]&gt;=30))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    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</a:t>
            </a:r>
            <a:r>
              <a:rPr lang="en-US" sz="1600" dirty="0" err="1">
                <a:latin typeface="Consolas" panose="020B0609020204030204" pitchFamily="49" charset="0"/>
              </a:rPr>
              <a:t>i</a:t>
            </a:r>
            <a:r>
              <a:rPr lang="en-US" sz="1600" dirty="0">
                <a:latin typeface="Consolas" panose="020B0609020204030204" pitchFamily="49" charset="0"/>
              </a:rPr>
              <a:t>]=min(X1,X2,X3);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/>
            <a:r>
              <a:rPr lang="en-US" sz="1600" dirty="0">
                <a:latin typeface="Consolas" panose="020B0609020204030204" pitchFamily="49" charset="0"/>
              </a:rPr>
              <a:t>    return </a:t>
            </a:r>
            <a:r>
              <a:rPr lang="en-US" sz="1600" dirty="0" err="1">
                <a:latin typeface="Consolas" panose="020B0609020204030204" pitchFamily="49" charset="0"/>
              </a:rPr>
              <a:t>arr</a:t>
            </a:r>
            <a:r>
              <a:rPr lang="en-US" sz="1600" dirty="0">
                <a:latin typeface="Consolas" panose="020B0609020204030204" pitchFamily="49" charset="0"/>
              </a:rPr>
              <a:t>[n]</a:t>
            </a:r>
            <a:endParaRPr lang="en-US" dirty="0">
              <a:latin typeface="Consolas" panose="020B0609020204030204" pitchFamily="49" charset="0"/>
            </a:endParaRPr>
          </a:p>
          <a:p>
            <a:pPr algn="l" defTabSz="457200">
              <a:spcBef>
                <a:spcPts val="0"/>
              </a:spcBef>
            </a:pPr>
            <a:endParaRPr lang="en-US" sz="1600" dirty="0">
              <a:latin typeface="Consolas" panose="020B0609020204030204" pitchFamily="49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5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37FAF-BC38-43F6-B47E-7C8E5E8E2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5962" y="1087905"/>
            <a:ext cx="4572000" cy="1050994"/>
          </a:xfrm>
        </p:spPr>
        <p:txBody>
          <a:bodyPr/>
          <a:lstStyle/>
          <a:p>
            <a:r>
              <a:rPr lang="en-US" sz="4400"/>
              <a:t>Thành viên nhóm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2E238A-C508-4152-BA09-05FF7E45E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6893" y="2429219"/>
            <a:ext cx="5045908" cy="3294441"/>
          </a:xfrm>
        </p:spPr>
        <p:txBody>
          <a:bodyPr/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Lộc Linh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Trần Duy Quang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Trí Tài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Vũ Quốc Huy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endParaRPr lang="en-US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Giảng viên: Nguyễn Thanh Sơn</a:t>
            </a:r>
          </a:p>
          <a:p>
            <a:pPr algn="l"/>
            <a:endParaRPr lang="en-US"/>
          </a:p>
        </p:txBody>
      </p:sp>
      <p:grpSp>
        <p:nvGrpSpPr>
          <p:cNvPr id="4" name="Google Shape;744;p18">
            <a:extLst>
              <a:ext uri="{FF2B5EF4-FFF2-40B4-BE49-F238E27FC236}">
                <a16:creationId xmlns:a16="http://schemas.microsoft.com/office/drawing/2014/main" id="{5B768D39-5934-42FA-8818-E86A3A25E311}"/>
              </a:ext>
            </a:extLst>
          </p:cNvPr>
          <p:cNvGrpSpPr/>
          <p:nvPr/>
        </p:nvGrpSpPr>
        <p:grpSpPr>
          <a:xfrm>
            <a:off x="7199040" y="1453723"/>
            <a:ext cx="3561725" cy="3950553"/>
            <a:chOff x="2152750" y="190500"/>
            <a:chExt cx="4293756" cy="4762499"/>
          </a:xfrm>
        </p:grpSpPr>
        <p:sp>
          <p:nvSpPr>
            <p:cNvPr id="5" name="Google Shape;745;p18">
              <a:extLst>
                <a:ext uri="{FF2B5EF4-FFF2-40B4-BE49-F238E27FC236}">
                  <a16:creationId xmlns:a16="http://schemas.microsoft.com/office/drawing/2014/main" id="{CA837D6D-CDB2-4F12-96FE-60980E4C5958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46;p18">
              <a:extLst>
                <a:ext uri="{FF2B5EF4-FFF2-40B4-BE49-F238E27FC236}">
                  <a16:creationId xmlns:a16="http://schemas.microsoft.com/office/drawing/2014/main" id="{8D3CD17D-8A21-4454-ACA2-28A20D1839D4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47;p18">
              <a:extLst>
                <a:ext uri="{FF2B5EF4-FFF2-40B4-BE49-F238E27FC236}">
                  <a16:creationId xmlns:a16="http://schemas.microsoft.com/office/drawing/2014/main" id="{818FB657-C642-4100-9730-4E99A84A11E6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48;p18">
              <a:extLst>
                <a:ext uri="{FF2B5EF4-FFF2-40B4-BE49-F238E27FC236}">
                  <a16:creationId xmlns:a16="http://schemas.microsoft.com/office/drawing/2014/main" id="{1DD83CFC-6A5B-4F03-81D5-E692B562B105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749;p18">
              <a:extLst>
                <a:ext uri="{FF2B5EF4-FFF2-40B4-BE49-F238E27FC236}">
                  <a16:creationId xmlns:a16="http://schemas.microsoft.com/office/drawing/2014/main" id="{FB9CF046-80EC-418A-94CE-3D24C9FF14CC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750;p18">
              <a:extLst>
                <a:ext uri="{FF2B5EF4-FFF2-40B4-BE49-F238E27FC236}">
                  <a16:creationId xmlns:a16="http://schemas.microsoft.com/office/drawing/2014/main" id="{F30598DE-DDE9-4106-B26C-BF58FE8C2CDE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751;p18">
              <a:extLst>
                <a:ext uri="{FF2B5EF4-FFF2-40B4-BE49-F238E27FC236}">
                  <a16:creationId xmlns:a16="http://schemas.microsoft.com/office/drawing/2014/main" id="{E76A6851-94AD-4CC5-8A47-E37081FB9536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752;p18">
              <a:extLst>
                <a:ext uri="{FF2B5EF4-FFF2-40B4-BE49-F238E27FC236}">
                  <a16:creationId xmlns:a16="http://schemas.microsoft.com/office/drawing/2014/main" id="{BEDB526A-46B2-4EAA-B1FF-FFBEC5EB4C59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753;p18">
              <a:extLst>
                <a:ext uri="{FF2B5EF4-FFF2-40B4-BE49-F238E27FC236}">
                  <a16:creationId xmlns:a16="http://schemas.microsoft.com/office/drawing/2014/main" id="{4CAF9DCA-0154-4590-AFFC-C248365AE5B8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54;p18">
              <a:extLst>
                <a:ext uri="{FF2B5EF4-FFF2-40B4-BE49-F238E27FC236}">
                  <a16:creationId xmlns:a16="http://schemas.microsoft.com/office/drawing/2014/main" id="{1101EAE8-1DE7-43C2-BCA5-08DD41D68809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755;p18">
              <a:extLst>
                <a:ext uri="{FF2B5EF4-FFF2-40B4-BE49-F238E27FC236}">
                  <a16:creationId xmlns:a16="http://schemas.microsoft.com/office/drawing/2014/main" id="{039C4E1E-B3C3-43F7-8E99-B4AA34CFC615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756;p18">
              <a:extLst>
                <a:ext uri="{FF2B5EF4-FFF2-40B4-BE49-F238E27FC236}">
                  <a16:creationId xmlns:a16="http://schemas.microsoft.com/office/drawing/2014/main" id="{A68EA6D6-3806-4803-8B50-2882EEE096BA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757;p18">
              <a:extLst>
                <a:ext uri="{FF2B5EF4-FFF2-40B4-BE49-F238E27FC236}">
                  <a16:creationId xmlns:a16="http://schemas.microsoft.com/office/drawing/2014/main" id="{2C780526-66E1-49BF-9E70-DD6FD8BC5AD9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758;p18">
              <a:extLst>
                <a:ext uri="{FF2B5EF4-FFF2-40B4-BE49-F238E27FC236}">
                  <a16:creationId xmlns:a16="http://schemas.microsoft.com/office/drawing/2014/main" id="{EB10C066-0FA7-4D7C-A659-1FBD2C979CB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759;p18">
              <a:extLst>
                <a:ext uri="{FF2B5EF4-FFF2-40B4-BE49-F238E27FC236}">
                  <a16:creationId xmlns:a16="http://schemas.microsoft.com/office/drawing/2014/main" id="{0938A38C-CEC0-43B9-80DF-CC459798CB6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760;p18">
              <a:extLst>
                <a:ext uri="{FF2B5EF4-FFF2-40B4-BE49-F238E27FC236}">
                  <a16:creationId xmlns:a16="http://schemas.microsoft.com/office/drawing/2014/main" id="{65DF519E-BC92-432F-8801-34643057F20C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61;p18">
              <a:extLst>
                <a:ext uri="{FF2B5EF4-FFF2-40B4-BE49-F238E27FC236}">
                  <a16:creationId xmlns:a16="http://schemas.microsoft.com/office/drawing/2014/main" id="{F3791FB7-69B2-422E-B543-CE12E7A95A1F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62;p18">
              <a:extLst>
                <a:ext uri="{FF2B5EF4-FFF2-40B4-BE49-F238E27FC236}">
                  <a16:creationId xmlns:a16="http://schemas.microsoft.com/office/drawing/2014/main" id="{F6CE82FB-2F9E-4A82-8FE1-A35ECAB06016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63;p18">
              <a:extLst>
                <a:ext uri="{FF2B5EF4-FFF2-40B4-BE49-F238E27FC236}">
                  <a16:creationId xmlns:a16="http://schemas.microsoft.com/office/drawing/2014/main" id="{E166219D-5D30-4FFD-9493-84734801332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64;p18">
              <a:extLst>
                <a:ext uri="{FF2B5EF4-FFF2-40B4-BE49-F238E27FC236}">
                  <a16:creationId xmlns:a16="http://schemas.microsoft.com/office/drawing/2014/main" id="{613DFB16-086A-4825-A2B0-19DD9A93BFD2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65;p18">
              <a:extLst>
                <a:ext uri="{FF2B5EF4-FFF2-40B4-BE49-F238E27FC236}">
                  <a16:creationId xmlns:a16="http://schemas.microsoft.com/office/drawing/2014/main" id="{25DBAAF4-45CC-41B5-A05D-8B632AD745C6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66;p18">
              <a:extLst>
                <a:ext uri="{FF2B5EF4-FFF2-40B4-BE49-F238E27FC236}">
                  <a16:creationId xmlns:a16="http://schemas.microsoft.com/office/drawing/2014/main" id="{DD5C3F95-BB89-47AD-BC15-551BC593842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767;p18">
              <a:extLst>
                <a:ext uri="{FF2B5EF4-FFF2-40B4-BE49-F238E27FC236}">
                  <a16:creationId xmlns:a16="http://schemas.microsoft.com/office/drawing/2014/main" id="{41A55B3E-58D6-464D-A681-53D8AB85438F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768;p18">
              <a:extLst>
                <a:ext uri="{FF2B5EF4-FFF2-40B4-BE49-F238E27FC236}">
                  <a16:creationId xmlns:a16="http://schemas.microsoft.com/office/drawing/2014/main" id="{88A0CEAF-7F38-48BD-BC8D-B5EDE5D3D5C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769;p18">
              <a:extLst>
                <a:ext uri="{FF2B5EF4-FFF2-40B4-BE49-F238E27FC236}">
                  <a16:creationId xmlns:a16="http://schemas.microsoft.com/office/drawing/2014/main" id="{156FBACD-FD19-44A6-BC19-1EC8A9CC75D7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770;p18">
              <a:extLst>
                <a:ext uri="{FF2B5EF4-FFF2-40B4-BE49-F238E27FC236}">
                  <a16:creationId xmlns:a16="http://schemas.microsoft.com/office/drawing/2014/main" id="{9495F0EE-90CF-480F-BBD9-18E6AE44E78C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771;p18">
              <a:extLst>
                <a:ext uri="{FF2B5EF4-FFF2-40B4-BE49-F238E27FC236}">
                  <a16:creationId xmlns:a16="http://schemas.microsoft.com/office/drawing/2014/main" id="{328CF741-1965-409C-B9B7-3DBC94AEFE23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772;p18">
              <a:extLst>
                <a:ext uri="{FF2B5EF4-FFF2-40B4-BE49-F238E27FC236}">
                  <a16:creationId xmlns:a16="http://schemas.microsoft.com/office/drawing/2014/main" id="{0A2D0E82-F207-4725-9866-4914C7C98346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773;p18">
              <a:extLst>
                <a:ext uri="{FF2B5EF4-FFF2-40B4-BE49-F238E27FC236}">
                  <a16:creationId xmlns:a16="http://schemas.microsoft.com/office/drawing/2014/main" id="{703D05F3-DB64-4F44-9BB1-D0CD3C4662A9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74;p18">
              <a:extLst>
                <a:ext uri="{FF2B5EF4-FFF2-40B4-BE49-F238E27FC236}">
                  <a16:creationId xmlns:a16="http://schemas.microsoft.com/office/drawing/2014/main" id="{185633FC-8033-4984-BD4C-7FA98A16CD77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75;p18">
              <a:extLst>
                <a:ext uri="{FF2B5EF4-FFF2-40B4-BE49-F238E27FC236}">
                  <a16:creationId xmlns:a16="http://schemas.microsoft.com/office/drawing/2014/main" id="{1A149A0F-99EB-4305-9191-690963E67955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76;p18">
              <a:extLst>
                <a:ext uri="{FF2B5EF4-FFF2-40B4-BE49-F238E27FC236}">
                  <a16:creationId xmlns:a16="http://schemas.microsoft.com/office/drawing/2014/main" id="{4095E535-38D8-4FF9-BF18-1F24A7734039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77;p18">
              <a:extLst>
                <a:ext uri="{FF2B5EF4-FFF2-40B4-BE49-F238E27FC236}">
                  <a16:creationId xmlns:a16="http://schemas.microsoft.com/office/drawing/2014/main" id="{CE8F0BF1-6038-4F24-9F9D-1E68B6C10C46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78;p18">
              <a:extLst>
                <a:ext uri="{FF2B5EF4-FFF2-40B4-BE49-F238E27FC236}">
                  <a16:creationId xmlns:a16="http://schemas.microsoft.com/office/drawing/2014/main" id="{118D6C9E-2778-4D06-883A-A224DD8AF9F0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79;p18">
              <a:extLst>
                <a:ext uri="{FF2B5EF4-FFF2-40B4-BE49-F238E27FC236}">
                  <a16:creationId xmlns:a16="http://schemas.microsoft.com/office/drawing/2014/main" id="{E7629A20-97A2-49FA-8E17-A42E9C5BF1C9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80;p18">
              <a:extLst>
                <a:ext uri="{FF2B5EF4-FFF2-40B4-BE49-F238E27FC236}">
                  <a16:creationId xmlns:a16="http://schemas.microsoft.com/office/drawing/2014/main" id="{10A6E5BD-E92D-4CD6-A2B0-13A82602578F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81;p18">
              <a:extLst>
                <a:ext uri="{FF2B5EF4-FFF2-40B4-BE49-F238E27FC236}">
                  <a16:creationId xmlns:a16="http://schemas.microsoft.com/office/drawing/2014/main" id="{1FC45958-3362-4E02-B576-E484EC0C3998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82;p18">
              <a:extLst>
                <a:ext uri="{FF2B5EF4-FFF2-40B4-BE49-F238E27FC236}">
                  <a16:creationId xmlns:a16="http://schemas.microsoft.com/office/drawing/2014/main" id="{852B49D3-9869-4926-BC42-7E3F2F41F9D2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83;p18">
              <a:extLst>
                <a:ext uri="{FF2B5EF4-FFF2-40B4-BE49-F238E27FC236}">
                  <a16:creationId xmlns:a16="http://schemas.microsoft.com/office/drawing/2014/main" id="{ABFBF28E-D50A-429C-B346-50E5DF444F3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84;p18">
              <a:extLst>
                <a:ext uri="{FF2B5EF4-FFF2-40B4-BE49-F238E27FC236}">
                  <a16:creationId xmlns:a16="http://schemas.microsoft.com/office/drawing/2014/main" id="{E70A8166-AE37-42DB-B142-932A1BE071C2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85;p18">
              <a:extLst>
                <a:ext uri="{FF2B5EF4-FFF2-40B4-BE49-F238E27FC236}">
                  <a16:creationId xmlns:a16="http://schemas.microsoft.com/office/drawing/2014/main" id="{98DE1CA9-3D01-4E47-8D41-8C22783F01DB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86;p18">
              <a:extLst>
                <a:ext uri="{FF2B5EF4-FFF2-40B4-BE49-F238E27FC236}">
                  <a16:creationId xmlns:a16="http://schemas.microsoft.com/office/drawing/2014/main" id="{F8C263ED-7F11-4427-B7CA-9AE4DD0B25E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87;p18">
              <a:extLst>
                <a:ext uri="{FF2B5EF4-FFF2-40B4-BE49-F238E27FC236}">
                  <a16:creationId xmlns:a16="http://schemas.microsoft.com/office/drawing/2014/main" id="{D2F02E20-1042-4C4A-9C1A-07C63BF18C56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88;p18">
              <a:extLst>
                <a:ext uri="{FF2B5EF4-FFF2-40B4-BE49-F238E27FC236}">
                  <a16:creationId xmlns:a16="http://schemas.microsoft.com/office/drawing/2014/main" id="{48E1F49F-78B6-4A3B-9185-53F54E1F4BE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89;p18">
              <a:extLst>
                <a:ext uri="{FF2B5EF4-FFF2-40B4-BE49-F238E27FC236}">
                  <a16:creationId xmlns:a16="http://schemas.microsoft.com/office/drawing/2014/main" id="{653DE10B-27E3-430A-B722-9A0AC826EBE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90;p18">
              <a:extLst>
                <a:ext uri="{FF2B5EF4-FFF2-40B4-BE49-F238E27FC236}">
                  <a16:creationId xmlns:a16="http://schemas.microsoft.com/office/drawing/2014/main" id="{12409128-B241-4F7D-9AAD-5696BE81376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91;p18">
              <a:extLst>
                <a:ext uri="{FF2B5EF4-FFF2-40B4-BE49-F238E27FC236}">
                  <a16:creationId xmlns:a16="http://schemas.microsoft.com/office/drawing/2014/main" id="{1BFAE8F4-5C35-4A56-A3AE-5CBF9C05207C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92;p18">
              <a:extLst>
                <a:ext uri="{FF2B5EF4-FFF2-40B4-BE49-F238E27FC236}">
                  <a16:creationId xmlns:a16="http://schemas.microsoft.com/office/drawing/2014/main" id="{6B515654-6342-44E2-8C95-8E5F9B3554A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93;p18">
              <a:extLst>
                <a:ext uri="{FF2B5EF4-FFF2-40B4-BE49-F238E27FC236}">
                  <a16:creationId xmlns:a16="http://schemas.microsoft.com/office/drawing/2014/main" id="{0A6F7DAE-AFE6-4481-949F-FE4E748D7711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94;p18">
              <a:extLst>
                <a:ext uri="{FF2B5EF4-FFF2-40B4-BE49-F238E27FC236}">
                  <a16:creationId xmlns:a16="http://schemas.microsoft.com/office/drawing/2014/main" id="{C950E8D5-370C-438A-BB3C-22352154EFA8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95;p18">
              <a:extLst>
                <a:ext uri="{FF2B5EF4-FFF2-40B4-BE49-F238E27FC236}">
                  <a16:creationId xmlns:a16="http://schemas.microsoft.com/office/drawing/2014/main" id="{FF747AA1-21DC-4D37-84A7-27C73DC414D7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96;p18">
              <a:extLst>
                <a:ext uri="{FF2B5EF4-FFF2-40B4-BE49-F238E27FC236}">
                  <a16:creationId xmlns:a16="http://schemas.microsoft.com/office/drawing/2014/main" id="{A29DCFAD-D5D9-44B9-9538-137CFA30032B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97;p18">
              <a:extLst>
                <a:ext uri="{FF2B5EF4-FFF2-40B4-BE49-F238E27FC236}">
                  <a16:creationId xmlns:a16="http://schemas.microsoft.com/office/drawing/2014/main" id="{422774E4-1B8C-4E26-93F3-1F0717FD8A5B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98;p18">
              <a:extLst>
                <a:ext uri="{FF2B5EF4-FFF2-40B4-BE49-F238E27FC236}">
                  <a16:creationId xmlns:a16="http://schemas.microsoft.com/office/drawing/2014/main" id="{47B4F731-D44A-4127-81DE-49165AAC460E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99;p18">
              <a:extLst>
                <a:ext uri="{FF2B5EF4-FFF2-40B4-BE49-F238E27FC236}">
                  <a16:creationId xmlns:a16="http://schemas.microsoft.com/office/drawing/2014/main" id="{89EE4A27-1740-4FA6-A83D-383B7B39B87D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800;p18">
              <a:extLst>
                <a:ext uri="{FF2B5EF4-FFF2-40B4-BE49-F238E27FC236}">
                  <a16:creationId xmlns:a16="http://schemas.microsoft.com/office/drawing/2014/main" id="{7BA72A4C-530B-4BEF-BAF8-06DCB345568F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801;p18">
              <a:extLst>
                <a:ext uri="{FF2B5EF4-FFF2-40B4-BE49-F238E27FC236}">
                  <a16:creationId xmlns:a16="http://schemas.microsoft.com/office/drawing/2014/main" id="{CD8BE6E7-324E-474D-A4A4-496C4F8968E4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802;p18">
              <a:extLst>
                <a:ext uri="{FF2B5EF4-FFF2-40B4-BE49-F238E27FC236}">
                  <a16:creationId xmlns:a16="http://schemas.microsoft.com/office/drawing/2014/main" id="{BDC6A9AF-7266-45BF-94C4-DD2D48A4F9D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803;p18">
              <a:extLst>
                <a:ext uri="{FF2B5EF4-FFF2-40B4-BE49-F238E27FC236}">
                  <a16:creationId xmlns:a16="http://schemas.microsoft.com/office/drawing/2014/main" id="{CF0D93AF-D851-47D2-BDEB-B68DAEAE0AEB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4;p18">
              <a:extLst>
                <a:ext uri="{FF2B5EF4-FFF2-40B4-BE49-F238E27FC236}">
                  <a16:creationId xmlns:a16="http://schemas.microsoft.com/office/drawing/2014/main" id="{B03DA64E-E448-49DE-8279-C2BD16BB9B6B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05;p18">
              <a:extLst>
                <a:ext uri="{FF2B5EF4-FFF2-40B4-BE49-F238E27FC236}">
                  <a16:creationId xmlns:a16="http://schemas.microsoft.com/office/drawing/2014/main" id="{E3ECB126-4855-4A10-9FB0-A123230DF56F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806;p18">
              <a:extLst>
                <a:ext uri="{FF2B5EF4-FFF2-40B4-BE49-F238E27FC236}">
                  <a16:creationId xmlns:a16="http://schemas.microsoft.com/office/drawing/2014/main" id="{A26FBA9C-6911-4EFD-8BB9-D6AB8BE1E99D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807;p18">
              <a:extLst>
                <a:ext uri="{FF2B5EF4-FFF2-40B4-BE49-F238E27FC236}">
                  <a16:creationId xmlns:a16="http://schemas.microsoft.com/office/drawing/2014/main" id="{83278654-305A-4F73-BAE9-2344980962EE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808;p18">
              <a:extLst>
                <a:ext uri="{FF2B5EF4-FFF2-40B4-BE49-F238E27FC236}">
                  <a16:creationId xmlns:a16="http://schemas.microsoft.com/office/drawing/2014/main" id="{411739D7-116C-49DB-B3DE-65D63E3979B6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809;p18">
              <a:extLst>
                <a:ext uri="{FF2B5EF4-FFF2-40B4-BE49-F238E27FC236}">
                  <a16:creationId xmlns:a16="http://schemas.microsoft.com/office/drawing/2014/main" id="{1D77ED06-3A5B-4C6D-891C-2D672C7923E5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810;p18">
              <a:extLst>
                <a:ext uri="{FF2B5EF4-FFF2-40B4-BE49-F238E27FC236}">
                  <a16:creationId xmlns:a16="http://schemas.microsoft.com/office/drawing/2014/main" id="{9BD2FD91-02FD-40C2-AFF3-23844D17E336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811;p18">
              <a:extLst>
                <a:ext uri="{FF2B5EF4-FFF2-40B4-BE49-F238E27FC236}">
                  <a16:creationId xmlns:a16="http://schemas.microsoft.com/office/drawing/2014/main" id="{298299EB-338F-4EC6-BF64-A3E78287A431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812;p18">
              <a:extLst>
                <a:ext uri="{FF2B5EF4-FFF2-40B4-BE49-F238E27FC236}">
                  <a16:creationId xmlns:a16="http://schemas.microsoft.com/office/drawing/2014/main" id="{D068B1DD-AA3A-481F-9955-BD474E01CF92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813;p18">
              <a:extLst>
                <a:ext uri="{FF2B5EF4-FFF2-40B4-BE49-F238E27FC236}">
                  <a16:creationId xmlns:a16="http://schemas.microsoft.com/office/drawing/2014/main" id="{AE037EA8-FB83-40F5-9D53-6F8D7327B534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814;p18">
              <a:extLst>
                <a:ext uri="{FF2B5EF4-FFF2-40B4-BE49-F238E27FC236}">
                  <a16:creationId xmlns:a16="http://schemas.microsoft.com/office/drawing/2014/main" id="{A24A85D2-7190-48B3-843F-6558D1BF15EA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815;p18">
              <a:extLst>
                <a:ext uri="{FF2B5EF4-FFF2-40B4-BE49-F238E27FC236}">
                  <a16:creationId xmlns:a16="http://schemas.microsoft.com/office/drawing/2014/main" id="{772117AC-D691-4693-A7AC-97E05B8A7DCB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816;p18">
              <a:extLst>
                <a:ext uri="{FF2B5EF4-FFF2-40B4-BE49-F238E27FC236}">
                  <a16:creationId xmlns:a16="http://schemas.microsoft.com/office/drawing/2014/main" id="{A088004D-05CC-4D14-BDA8-FF946DDB93E7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817;p18">
              <a:extLst>
                <a:ext uri="{FF2B5EF4-FFF2-40B4-BE49-F238E27FC236}">
                  <a16:creationId xmlns:a16="http://schemas.microsoft.com/office/drawing/2014/main" id="{8CBD8E7D-0A1D-4920-A0E1-45923574D595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818;p18">
              <a:extLst>
                <a:ext uri="{FF2B5EF4-FFF2-40B4-BE49-F238E27FC236}">
                  <a16:creationId xmlns:a16="http://schemas.microsoft.com/office/drawing/2014/main" id="{F36C43A1-595A-4472-A897-17084FFEEDE0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819;p18">
              <a:extLst>
                <a:ext uri="{FF2B5EF4-FFF2-40B4-BE49-F238E27FC236}">
                  <a16:creationId xmlns:a16="http://schemas.microsoft.com/office/drawing/2014/main" id="{2CAF0048-1259-4CE5-B5BC-68ADAE4AD470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04" name="Google Shape;820;p18">
                <a:extLst>
                  <a:ext uri="{FF2B5EF4-FFF2-40B4-BE49-F238E27FC236}">
                    <a16:creationId xmlns:a16="http://schemas.microsoft.com/office/drawing/2014/main" id="{86F4C6FF-1666-4B89-AE0C-55E4CF981BEC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821;p18">
                <a:extLst>
                  <a:ext uri="{FF2B5EF4-FFF2-40B4-BE49-F238E27FC236}">
                    <a16:creationId xmlns:a16="http://schemas.microsoft.com/office/drawing/2014/main" id="{28029AF7-FC21-46E6-AE29-CB255125E071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822;p18">
                <a:extLst>
                  <a:ext uri="{FF2B5EF4-FFF2-40B4-BE49-F238E27FC236}">
                    <a16:creationId xmlns:a16="http://schemas.microsoft.com/office/drawing/2014/main" id="{0C57F36D-B43D-4405-A09A-07801E258D80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823;p18">
                <a:extLst>
                  <a:ext uri="{FF2B5EF4-FFF2-40B4-BE49-F238E27FC236}">
                    <a16:creationId xmlns:a16="http://schemas.microsoft.com/office/drawing/2014/main" id="{AD77E822-0B62-4C77-BC1B-F08A8CDB4280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824;p18">
                <a:extLst>
                  <a:ext uri="{FF2B5EF4-FFF2-40B4-BE49-F238E27FC236}">
                    <a16:creationId xmlns:a16="http://schemas.microsoft.com/office/drawing/2014/main" id="{96BD600A-39E6-4FBD-BB43-27E92F963679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825;p18">
                <a:extLst>
                  <a:ext uri="{FF2B5EF4-FFF2-40B4-BE49-F238E27FC236}">
                    <a16:creationId xmlns:a16="http://schemas.microsoft.com/office/drawing/2014/main" id="{66B8A16E-6A38-4719-B192-FFF56F82FA7F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826;p18">
                <a:extLst>
                  <a:ext uri="{FF2B5EF4-FFF2-40B4-BE49-F238E27FC236}">
                    <a16:creationId xmlns:a16="http://schemas.microsoft.com/office/drawing/2014/main" id="{51EBD313-F414-4669-9F06-4B44BC790EE2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827;p18">
                <a:extLst>
                  <a:ext uri="{FF2B5EF4-FFF2-40B4-BE49-F238E27FC236}">
                    <a16:creationId xmlns:a16="http://schemas.microsoft.com/office/drawing/2014/main" id="{AE9E7C5C-7A14-4BDC-84F2-2D1BFC61AE7B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828;p18">
                <a:extLst>
                  <a:ext uri="{FF2B5EF4-FFF2-40B4-BE49-F238E27FC236}">
                    <a16:creationId xmlns:a16="http://schemas.microsoft.com/office/drawing/2014/main" id="{68BEA5FD-CDC8-4B33-976D-1DFBF68A2A79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829;p18">
              <a:extLst>
                <a:ext uri="{FF2B5EF4-FFF2-40B4-BE49-F238E27FC236}">
                  <a16:creationId xmlns:a16="http://schemas.microsoft.com/office/drawing/2014/main" id="{0E56FD1A-1A6C-453B-B7AE-D592F4FADFBE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99" name="Google Shape;830;p18">
                <a:extLst>
                  <a:ext uri="{FF2B5EF4-FFF2-40B4-BE49-F238E27FC236}">
                    <a16:creationId xmlns:a16="http://schemas.microsoft.com/office/drawing/2014/main" id="{B92DC50B-7F69-4B91-A197-59E6CAEEC43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831;p18">
                <a:extLst>
                  <a:ext uri="{FF2B5EF4-FFF2-40B4-BE49-F238E27FC236}">
                    <a16:creationId xmlns:a16="http://schemas.microsoft.com/office/drawing/2014/main" id="{BC885825-7020-4314-94A5-929863DC6B30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832;p18">
                <a:extLst>
                  <a:ext uri="{FF2B5EF4-FFF2-40B4-BE49-F238E27FC236}">
                    <a16:creationId xmlns:a16="http://schemas.microsoft.com/office/drawing/2014/main" id="{47E385B2-8878-46EB-96CB-354F2CC47F55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833;p18">
                <a:extLst>
                  <a:ext uri="{FF2B5EF4-FFF2-40B4-BE49-F238E27FC236}">
                    <a16:creationId xmlns:a16="http://schemas.microsoft.com/office/drawing/2014/main" id="{CA157391-9EFE-452E-B6C6-C7B1B6017B21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834;p18">
                <a:extLst>
                  <a:ext uri="{FF2B5EF4-FFF2-40B4-BE49-F238E27FC236}">
                    <a16:creationId xmlns:a16="http://schemas.microsoft.com/office/drawing/2014/main" id="{B6FAD61F-E7E7-42D2-B097-BAA5E518A3F1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835;p18">
              <a:extLst>
                <a:ext uri="{FF2B5EF4-FFF2-40B4-BE49-F238E27FC236}">
                  <a16:creationId xmlns:a16="http://schemas.microsoft.com/office/drawing/2014/main" id="{9EFFBDC7-30F4-40AD-8A42-84994AD524CA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36;p18">
              <a:extLst>
                <a:ext uri="{FF2B5EF4-FFF2-40B4-BE49-F238E27FC236}">
                  <a16:creationId xmlns:a16="http://schemas.microsoft.com/office/drawing/2014/main" id="{21F16A18-6EF1-4A0C-A269-62B47C999E76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7;p18">
              <a:extLst>
                <a:ext uri="{FF2B5EF4-FFF2-40B4-BE49-F238E27FC236}">
                  <a16:creationId xmlns:a16="http://schemas.microsoft.com/office/drawing/2014/main" id="{1E475CE9-B5F4-4AD4-B33C-AB368AD96D92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38;p18">
              <a:extLst>
                <a:ext uri="{FF2B5EF4-FFF2-40B4-BE49-F238E27FC236}">
                  <a16:creationId xmlns:a16="http://schemas.microsoft.com/office/drawing/2014/main" id="{F652149C-C434-40E9-8B60-C3625C5D1EE0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39;p18">
              <a:extLst>
                <a:ext uri="{FF2B5EF4-FFF2-40B4-BE49-F238E27FC236}">
                  <a16:creationId xmlns:a16="http://schemas.microsoft.com/office/drawing/2014/main" id="{938AE09E-308E-4F8F-85A2-5E883EDCB2A0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40;p18">
              <a:extLst>
                <a:ext uri="{FF2B5EF4-FFF2-40B4-BE49-F238E27FC236}">
                  <a16:creationId xmlns:a16="http://schemas.microsoft.com/office/drawing/2014/main" id="{B97DD219-D958-405C-9D26-4CDDC82EB420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41;p18">
              <a:extLst>
                <a:ext uri="{FF2B5EF4-FFF2-40B4-BE49-F238E27FC236}">
                  <a16:creationId xmlns:a16="http://schemas.microsoft.com/office/drawing/2014/main" id="{47B7E43F-F394-4FF7-80AA-896AFD530F42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42;p18">
              <a:extLst>
                <a:ext uri="{FF2B5EF4-FFF2-40B4-BE49-F238E27FC236}">
                  <a16:creationId xmlns:a16="http://schemas.microsoft.com/office/drawing/2014/main" id="{BF817BE2-FCA0-4688-BB9B-6F4FBB56D8AF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43;p18">
              <a:extLst>
                <a:ext uri="{FF2B5EF4-FFF2-40B4-BE49-F238E27FC236}">
                  <a16:creationId xmlns:a16="http://schemas.microsoft.com/office/drawing/2014/main" id="{6A5F3238-910B-45A0-9D91-523DEA99E021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44;p18">
              <a:extLst>
                <a:ext uri="{FF2B5EF4-FFF2-40B4-BE49-F238E27FC236}">
                  <a16:creationId xmlns:a16="http://schemas.microsoft.com/office/drawing/2014/main" id="{3F1ABBA4-46DE-4874-8019-D949FA04911F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45;p18">
              <a:extLst>
                <a:ext uri="{FF2B5EF4-FFF2-40B4-BE49-F238E27FC236}">
                  <a16:creationId xmlns:a16="http://schemas.microsoft.com/office/drawing/2014/main" id="{48E40AA6-4C98-4B95-9EDF-B36C137211F4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46;p18">
              <a:extLst>
                <a:ext uri="{FF2B5EF4-FFF2-40B4-BE49-F238E27FC236}">
                  <a16:creationId xmlns:a16="http://schemas.microsoft.com/office/drawing/2014/main" id="{F502AC27-8510-4492-8BE0-5D6CCBE5B405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47;p18">
              <a:extLst>
                <a:ext uri="{FF2B5EF4-FFF2-40B4-BE49-F238E27FC236}">
                  <a16:creationId xmlns:a16="http://schemas.microsoft.com/office/drawing/2014/main" id="{53F36C23-6C18-41D2-803F-CB0D6BEE7A53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48;p18">
              <a:extLst>
                <a:ext uri="{FF2B5EF4-FFF2-40B4-BE49-F238E27FC236}">
                  <a16:creationId xmlns:a16="http://schemas.microsoft.com/office/drawing/2014/main" id="{5ACE18F2-939C-4006-B8D1-A02D61845A0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49;p18">
              <a:extLst>
                <a:ext uri="{FF2B5EF4-FFF2-40B4-BE49-F238E27FC236}">
                  <a16:creationId xmlns:a16="http://schemas.microsoft.com/office/drawing/2014/main" id="{52783972-172F-48D9-AAEC-F957134916E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50;p18">
              <a:extLst>
                <a:ext uri="{FF2B5EF4-FFF2-40B4-BE49-F238E27FC236}">
                  <a16:creationId xmlns:a16="http://schemas.microsoft.com/office/drawing/2014/main" id="{0E10A542-1FDD-436A-AC7A-642D8E13A3C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51;p18">
              <a:extLst>
                <a:ext uri="{FF2B5EF4-FFF2-40B4-BE49-F238E27FC236}">
                  <a16:creationId xmlns:a16="http://schemas.microsoft.com/office/drawing/2014/main" id="{FC4496FD-B92E-42AB-8619-7B1C2EA475F3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52;p18">
              <a:extLst>
                <a:ext uri="{FF2B5EF4-FFF2-40B4-BE49-F238E27FC236}">
                  <a16:creationId xmlns:a16="http://schemas.microsoft.com/office/drawing/2014/main" id="{76E47F4C-4317-42DB-AC87-1E2C9938713F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260AFF55-DF89-45D2-9220-FC18CBC23E5D}"/>
              </a:ext>
            </a:extLst>
          </p:cNvPr>
          <p:cNvSpPr/>
          <p:nvPr/>
        </p:nvSpPr>
        <p:spPr>
          <a:xfrm rot="5400000">
            <a:off x="-373967" y="1444855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80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3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9"/>
            <a:ext cx="9144000" cy="1655762"/>
          </a:xfrm>
        </p:spPr>
        <p:txBody>
          <a:bodyPr/>
          <a:lstStyle/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28147A-4C48-450B-801D-6C386AE9DAC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E5090E-A25C-463C-8BA0-204889FF0F00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730240" y="5809298"/>
            <a:ext cx="251290" cy="542925"/>
          </a:xfrm>
          <a:custGeom>
            <a:avLst/>
            <a:gdLst>
              <a:gd name="T0" fmla="*/ 569 w 581"/>
              <a:gd name="T1" fmla="*/ 567 h 1250"/>
              <a:gd name="T2" fmla="*/ 500 w 581"/>
              <a:gd name="T3" fmla="*/ 487 h 1250"/>
              <a:gd name="T4" fmla="*/ 330 w 581"/>
              <a:gd name="T5" fmla="*/ 267 h 1250"/>
              <a:gd name="T6" fmla="*/ 356 w 581"/>
              <a:gd name="T7" fmla="*/ 193 h 1250"/>
              <a:gd name="T8" fmla="*/ 358 w 581"/>
              <a:gd name="T9" fmla="*/ 191 h 1250"/>
              <a:gd name="T10" fmla="*/ 356 w 581"/>
              <a:gd name="T11" fmla="*/ 188 h 1250"/>
              <a:gd name="T12" fmla="*/ 255 w 581"/>
              <a:gd name="T13" fmla="*/ 24 h 1250"/>
              <a:gd name="T14" fmla="*/ 181 w 581"/>
              <a:gd name="T15" fmla="*/ 0 h 1250"/>
              <a:gd name="T16" fmla="*/ 96 w 581"/>
              <a:gd name="T17" fmla="*/ 28 h 1250"/>
              <a:gd name="T18" fmla="*/ 82 w 581"/>
              <a:gd name="T19" fmla="*/ 63 h 1250"/>
              <a:gd name="T20" fmla="*/ 85 w 581"/>
              <a:gd name="T21" fmla="*/ 140 h 1250"/>
              <a:gd name="T22" fmla="*/ 108 w 581"/>
              <a:gd name="T23" fmla="*/ 805 h 1250"/>
              <a:gd name="T24" fmla="*/ 69 w 581"/>
              <a:gd name="T25" fmla="*/ 923 h 1250"/>
              <a:gd name="T26" fmla="*/ 4 w 581"/>
              <a:gd name="T27" fmla="*/ 1141 h 1250"/>
              <a:gd name="T28" fmla="*/ 81 w 581"/>
              <a:gd name="T29" fmla="*/ 1250 h 1250"/>
              <a:gd name="T30" fmla="*/ 82 w 581"/>
              <a:gd name="T31" fmla="*/ 1250 h 1250"/>
              <a:gd name="T32" fmla="*/ 386 w 581"/>
              <a:gd name="T33" fmla="*/ 1201 h 1250"/>
              <a:gd name="T34" fmla="*/ 390 w 581"/>
              <a:gd name="T35" fmla="*/ 1200 h 1250"/>
              <a:gd name="T36" fmla="*/ 388 w 581"/>
              <a:gd name="T37" fmla="*/ 1196 h 1250"/>
              <a:gd name="T38" fmla="*/ 408 w 581"/>
              <a:gd name="T39" fmla="*/ 1030 h 1250"/>
              <a:gd name="T40" fmla="*/ 448 w 581"/>
              <a:gd name="T41" fmla="*/ 1011 h 1250"/>
              <a:gd name="T42" fmla="*/ 488 w 581"/>
              <a:gd name="T43" fmla="*/ 989 h 1250"/>
              <a:gd name="T44" fmla="*/ 486 w 581"/>
              <a:gd name="T45" fmla="*/ 908 h 1250"/>
              <a:gd name="T46" fmla="*/ 478 w 581"/>
              <a:gd name="T47" fmla="*/ 839 h 1250"/>
              <a:gd name="T48" fmla="*/ 497 w 581"/>
              <a:gd name="T49" fmla="*/ 753 h 1250"/>
              <a:gd name="T50" fmla="*/ 498 w 581"/>
              <a:gd name="T51" fmla="*/ 749 h 1250"/>
              <a:gd name="T52" fmla="*/ 484 w 581"/>
              <a:gd name="T53" fmla="*/ 742 h 1250"/>
              <a:gd name="T54" fmla="*/ 504 w 581"/>
              <a:gd name="T55" fmla="*/ 722 h 1250"/>
              <a:gd name="T56" fmla="*/ 501 w 581"/>
              <a:gd name="T57" fmla="*/ 719 h 1250"/>
              <a:gd name="T58" fmla="*/ 483 w 581"/>
              <a:gd name="T59" fmla="*/ 665 h 1250"/>
              <a:gd name="T60" fmla="*/ 569 w 581"/>
              <a:gd name="T61" fmla="*/ 567 h 1250"/>
              <a:gd name="T62" fmla="*/ 251 w 581"/>
              <a:gd name="T63" fmla="*/ 313 h 1250"/>
              <a:gd name="T64" fmla="*/ 246 w 581"/>
              <a:gd name="T65" fmla="*/ 313 h 1250"/>
              <a:gd name="T66" fmla="*/ 220 w 581"/>
              <a:gd name="T67" fmla="*/ 309 h 1250"/>
              <a:gd name="T68" fmla="*/ 249 w 581"/>
              <a:gd name="T69" fmla="*/ 287 h 1250"/>
              <a:gd name="T70" fmla="*/ 252 w 581"/>
              <a:gd name="T71" fmla="*/ 287 h 1250"/>
              <a:gd name="T72" fmla="*/ 248 w 581"/>
              <a:gd name="T73" fmla="*/ 301 h 1250"/>
              <a:gd name="T74" fmla="*/ 251 w 581"/>
              <a:gd name="T75" fmla="*/ 313 h 1250"/>
              <a:gd name="T76" fmla="*/ 269 w 581"/>
              <a:gd name="T77" fmla="*/ 305 h 1250"/>
              <a:gd name="T78" fmla="*/ 270 w 581"/>
              <a:gd name="T79" fmla="*/ 301 h 1250"/>
              <a:gd name="T80" fmla="*/ 269 w 581"/>
              <a:gd name="T81" fmla="*/ 298 h 1250"/>
              <a:gd name="T82" fmla="*/ 273 w 581"/>
              <a:gd name="T83" fmla="*/ 302 h 1250"/>
              <a:gd name="T84" fmla="*/ 269 w 581"/>
              <a:gd name="T85" fmla="*/ 30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1" h="1250">
                <a:moveTo>
                  <a:pt x="569" y="567"/>
                </a:moveTo>
                <a:cubicBezTo>
                  <a:pt x="566" y="559"/>
                  <a:pt x="544" y="534"/>
                  <a:pt x="500" y="487"/>
                </a:cubicBezTo>
                <a:cubicBezTo>
                  <a:pt x="432" y="412"/>
                  <a:pt x="330" y="300"/>
                  <a:pt x="330" y="267"/>
                </a:cubicBezTo>
                <a:cubicBezTo>
                  <a:pt x="330" y="225"/>
                  <a:pt x="356" y="193"/>
                  <a:pt x="356" y="193"/>
                </a:cubicBezTo>
                <a:lnTo>
                  <a:pt x="358" y="191"/>
                </a:lnTo>
                <a:lnTo>
                  <a:pt x="356" y="188"/>
                </a:lnTo>
                <a:cubicBezTo>
                  <a:pt x="356" y="188"/>
                  <a:pt x="276" y="58"/>
                  <a:pt x="255" y="24"/>
                </a:cubicBezTo>
                <a:cubicBezTo>
                  <a:pt x="245" y="7"/>
                  <a:pt x="211" y="0"/>
                  <a:pt x="181" y="0"/>
                </a:cubicBezTo>
                <a:cubicBezTo>
                  <a:pt x="144" y="0"/>
                  <a:pt x="112" y="10"/>
                  <a:pt x="96" y="28"/>
                </a:cubicBezTo>
                <a:cubicBezTo>
                  <a:pt x="86" y="38"/>
                  <a:pt x="82" y="50"/>
                  <a:pt x="82" y="63"/>
                </a:cubicBezTo>
                <a:cubicBezTo>
                  <a:pt x="83" y="76"/>
                  <a:pt x="84" y="103"/>
                  <a:pt x="85" y="140"/>
                </a:cubicBezTo>
                <a:cubicBezTo>
                  <a:pt x="93" y="322"/>
                  <a:pt x="111" y="748"/>
                  <a:pt x="108" y="805"/>
                </a:cubicBezTo>
                <a:cubicBezTo>
                  <a:pt x="107" y="834"/>
                  <a:pt x="89" y="875"/>
                  <a:pt x="69" y="923"/>
                </a:cubicBezTo>
                <a:cubicBezTo>
                  <a:pt x="40" y="991"/>
                  <a:pt x="7" y="1067"/>
                  <a:pt x="4" y="1141"/>
                </a:cubicBezTo>
                <a:cubicBezTo>
                  <a:pt x="0" y="1219"/>
                  <a:pt x="80" y="1249"/>
                  <a:pt x="81" y="1250"/>
                </a:cubicBezTo>
                <a:lnTo>
                  <a:pt x="82" y="1250"/>
                </a:lnTo>
                <a:cubicBezTo>
                  <a:pt x="270" y="1250"/>
                  <a:pt x="385" y="1202"/>
                  <a:pt x="386" y="1201"/>
                </a:cubicBezTo>
                <a:lnTo>
                  <a:pt x="390" y="1200"/>
                </a:lnTo>
                <a:lnTo>
                  <a:pt x="388" y="1196"/>
                </a:lnTo>
                <a:cubicBezTo>
                  <a:pt x="343" y="1096"/>
                  <a:pt x="388" y="1050"/>
                  <a:pt x="408" y="1030"/>
                </a:cubicBezTo>
                <a:cubicBezTo>
                  <a:pt x="417" y="1021"/>
                  <a:pt x="433" y="1016"/>
                  <a:pt x="448" y="1011"/>
                </a:cubicBezTo>
                <a:cubicBezTo>
                  <a:pt x="465" y="1005"/>
                  <a:pt x="481" y="1000"/>
                  <a:pt x="488" y="989"/>
                </a:cubicBezTo>
                <a:cubicBezTo>
                  <a:pt x="497" y="973"/>
                  <a:pt x="492" y="943"/>
                  <a:pt x="486" y="908"/>
                </a:cubicBezTo>
                <a:cubicBezTo>
                  <a:pt x="482" y="885"/>
                  <a:pt x="478" y="861"/>
                  <a:pt x="478" y="839"/>
                </a:cubicBezTo>
                <a:cubicBezTo>
                  <a:pt x="478" y="786"/>
                  <a:pt x="496" y="753"/>
                  <a:pt x="497" y="753"/>
                </a:cubicBezTo>
                <a:lnTo>
                  <a:pt x="498" y="749"/>
                </a:lnTo>
                <a:lnTo>
                  <a:pt x="484" y="742"/>
                </a:lnTo>
                <a:lnTo>
                  <a:pt x="504" y="722"/>
                </a:lnTo>
                <a:lnTo>
                  <a:pt x="501" y="719"/>
                </a:lnTo>
                <a:cubicBezTo>
                  <a:pt x="486" y="704"/>
                  <a:pt x="484" y="674"/>
                  <a:pt x="483" y="665"/>
                </a:cubicBezTo>
                <a:cubicBezTo>
                  <a:pt x="522" y="643"/>
                  <a:pt x="581" y="602"/>
                  <a:pt x="569" y="567"/>
                </a:cubicBezTo>
                <a:close/>
                <a:moveTo>
                  <a:pt x="251" y="313"/>
                </a:moveTo>
                <a:cubicBezTo>
                  <a:pt x="249" y="313"/>
                  <a:pt x="248" y="313"/>
                  <a:pt x="246" y="313"/>
                </a:cubicBezTo>
                <a:cubicBezTo>
                  <a:pt x="236" y="313"/>
                  <a:pt x="225" y="310"/>
                  <a:pt x="220" y="309"/>
                </a:cubicBezTo>
                <a:cubicBezTo>
                  <a:pt x="229" y="295"/>
                  <a:pt x="239" y="287"/>
                  <a:pt x="249" y="287"/>
                </a:cubicBezTo>
                <a:cubicBezTo>
                  <a:pt x="250" y="287"/>
                  <a:pt x="251" y="287"/>
                  <a:pt x="252" y="287"/>
                </a:cubicBezTo>
                <a:cubicBezTo>
                  <a:pt x="249" y="290"/>
                  <a:pt x="248" y="295"/>
                  <a:pt x="248" y="301"/>
                </a:cubicBezTo>
                <a:cubicBezTo>
                  <a:pt x="248" y="306"/>
                  <a:pt x="249" y="310"/>
                  <a:pt x="251" y="313"/>
                </a:cubicBezTo>
                <a:close/>
                <a:moveTo>
                  <a:pt x="269" y="305"/>
                </a:moveTo>
                <a:cubicBezTo>
                  <a:pt x="269" y="304"/>
                  <a:pt x="270" y="303"/>
                  <a:pt x="270" y="301"/>
                </a:cubicBezTo>
                <a:cubicBezTo>
                  <a:pt x="270" y="300"/>
                  <a:pt x="269" y="299"/>
                  <a:pt x="269" y="298"/>
                </a:cubicBezTo>
                <a:cubicBezTo>
                  <a:pt x="271" y="299"/>
                  <a:pt x="272" y="300"/>
                  <a:pt x="273" y="302"/>
                </a:cubicBezTo>
                <a:cubicBezTo>
                  <a:pt x="272" y="303"/>
                  <a:pt x="271" y="304"/>
                  <a:pt x="269" y="30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106674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626A70-F3BB-48D3-9F61-72E39D8ADCFE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7197256" y="1669772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DE0E5DF-73D7-4749-8643-96DB9374380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954988" y="3534851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1037B8-2873-42F1-9462-D03E52DD1D77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763199" y="3429000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1C5C0C-AC7B-43DF-9628-85D5C10848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8036" y="1985273"/>
            <a:ext cx="3032760" cy="109188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ác định hòn đả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Đếm số hòn đảo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95283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82297A-7418-4994-AF05-790144F7F36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AC6CBBE-765C-4E24-B0AC-018C3D585E8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7197256" y="4699303"/>
            <a:ext cx="4563309" cy="2661615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936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" grpId="0" uiExpand="1" build="p"/>
      <p:bldP spid="4" grpId="0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E7A53B-F3AF-4B7E-B227-B13E48DFB5D3}"/>
              </a:ext>
            </a:extLst>
          </p:cNvPr>
          <p:cNvSpPr txBox="1"/>
          <p:nvPr/>
        </p:nvSpPr>
        <p:spPr>
          <a:xfrm>
            <a:off x="1295400" y="3408438"/>
            <a:ext cx="34899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Khu vực : ma tr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Ràng buộc để tạo thành đảo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71A49B-AFB9-4495-9BA4-A82D8B5AE875}"/>
              </a:ext>
            </a:extLst>
          </p:cNvPr>
          <p:cNvSpPr txBox="1"/>
          <p:nvPr/>
        </p:nvSpPr>
        <p:spPr>
          <a:xfrm>
            <a:off x="1295400" y="5039654"/>
            <a:ext cx="3489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Số lượng đảo</a:t>
            </a:r>
          </a:p>
        </p:txBody>
      </p:sp>
      <p:graphicFrame>
        <p:nvGraphicFramePr>
          <p:cNvPr id="9" name="Table 31">
            <a:extLst>
              <a:ext uri="{FF2B5EF4-FFF2-40B4-BE49-F238E27FC236}">
                <a16:creationId xmlns:a16="http://schemas.microsoft.com/office/drawing/2014/main" id="{07338DCA-5CDE-4DBD-81C0-7ADDE5082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08913"/>
              </p:ext>
            </p:extLst>
          </p:nvPr>
        </p:nvGraphicFramePr>
        <p:xfrm>
          <a:off x="6700818" y="3429000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11" name="Subtitle 2">
            <a:extLst>
              <a:ext uri="{FF2B5EF4-FFF2-40B4-BE49-F238E27FC236}">
                <a16:creationId xmlns:a16="http://schemas.microsoft.com/office/drawing/2014/main" id="{ACE01AF4-FE78-4E47-BDF5-0BE294D9E7B0}"/>
              </a:ext>
            </a:extLst>
          </p:cNvPr>
          <p:cNvSpPr txBox="1">
            <a:spLocks/>
          </p:cNvSpPr>
          <p:nvPr/>
        </p:nvSpPr>
        <p:spPr>
          <a:xfrm>
            <a:off x="1295400" y="1553022"/>
            <a:ext cx="9144000" cy="143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66AA3E-3732-46EC-A099-F3203B102EFB}"/>
              </a:ext>
            </a:extLst>
          </p:cNvPr>
          <p:cNvCxnSpPr>
            <a:cxnSpLocks/>
          </p:cNvCxnSpPr>
          <p:nvPr/>
        </p:nvCxnSpPr>
        <p:spPr>
          <a:xfrm>
            <a:off x="1828800" y="1985278"/>
            <a:ext cx="16032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88C75-93D4-41B4-B086-3EEF51C58307}"/>
              </a:ext>
            </a:extLst>
          </p:cNvPr>
          <p:cNvCxnSpPr>
            <a:cxnSpLocks/>
          </p:cNvCxnSpPr>
          <p:nvPr/>
        </p:nvCxnSpPr>
        <p:spPr>
          <a:xfrm>
            <a:off x="4038600" y="1985278"/>
            <a:ext cx="102108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041596-7A51-4A9B-88F2-1BE1E1D9589E}"/>
              </a:ext>
            </a:extLst>
          </p:cNvPr>
          <p:cNvCxnSpPr>
            <a:cxnSpLocks/>
          </p:cNvCxnSpPr>
          <p:nvPr/>
        </p:nvCxnSpPr>
        <p:spPr>
          <a:xfrm>
            <a:off x="5440680" y="1985278"/>
            <a:ext cx="128016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D488BD-55AE-4387-BAC7-433CE1AD8E86}"/>
              </a:ext>
            </a:extLst>
          </p:cNvPr>
          <p:cNvCxnSpPr>
            <a:cxnSpLocks/>
          </p:cNvCxnSpPr>
          <p:nvPr/>
        </p:nvCxnSpPr>
        <p:spPr>
          <a:xfrm>
            <a:off x="1295400" y="2380903"/>
            <a:ext cx="21366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0B86982-2599-4B7B-B906-AEC891FBAFA8}"/>
              </a:ext>
            </a:extLst>
          </p:cNvPr>
          <p:cNvCxnSpPr>
            <a:cxnSpLocks/>
          </p:cNvCxnSpPr>
          <p:nvPr/>
        </p:nvCxnSpPr>
        <p:spPr>
          <a:xfrm>
            <a:off x="4477545" y="2396143"/>
            <a:ext cx="356917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99CDC0-B6E0-41A9-AFE8-CC4E36F77F28}"/>
              </a:ext>
            </a:extLst>
          </p:cNvPr>
          <p:cNvCxnSpPr>
            <a:cxnSpLocks/>
          </p:cNvCxnSpPr>
          <p:nvPr/>
        </p:nvCxnSpPr>
        <p:spPr>
          <a:xfrm>
            <a:off x="3556597" y="2807623"/>
            <a:ext cx="270553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63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371790" y="1122361"/>
            <a:ext cx="657765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D9B042FD-51AE-453D-AE86-F7B5CF397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351081"/>
              </p:ext>
            </p:extLst>
          </p:nvPr>
        </p:nvGraphicFramePr>
        <p:xfrm>
          <a:off x="2072640" y="3588026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36A8C7-DAE9-498F-9BBF-B04A612884A0}"/>
              </a:ext>
            </a:extLst>
          </p:cNvPr>
          <p:cNvSpPr txBox="1"/>
          <p:nvPr/>
        </p:nvSpPr>
        <p:spPr>
          <a:xfrm>
            <a:off x="1647122" y="1882156"/>
            <a:ext cx="8307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ìm hòn đảo, sử dụng        để duyệt qua mảng rồi tìm xung quan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8A7F23-7EA7-4DC7-A2AC-E083BE1B7AC2}"/>
              </a:ext>
            </a:extLst>
          </p:cNvPr>
          <p:cNvSpPr/>
          <p:nvPr/>
        </p:nvSpPr>
        <p:spPr>
          <a:xfrm>
            <a:off x="4479332" y="1899390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2098B0-929C-48E0-B910-E1FF6A6C0311}"/>
              </a:ext>
            </a:extLst>
          </p:cNvPr>
          <p:cNvSpPr/>
          <p:nvPr/>
        </p:nvSpPr>
        <p:spPr>
          <a:xfrm>
            <a:off x="2536777" y="3593534"/>
            <a:ext cx="444342" cy="444431"/>
          </a:xfrm>
          <a:prstGeom prst="rect">
            <a:avLst/>
          </a:prstGeom>
          <a:solidFill>
            <a:srgbClr val="3BFF2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4D458-2564-43ED-A0DB-AEE3AEF499A6}"/>
              </a:ext>
            </a:extLst>
          </p:cNvPr>
          <p:cNvSpPr/>
          <p:nvPr/>
        </p:nvSpPr>
        <p:spPr>
          <a:xfrm>
            <a:off x="20797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396859-4BDF-4EC6-959F-5ABD63E41735}"/>
              </a:ext>
            </a:extLst>
          </p:cNvPr>
          <p:cNvSpPr/>
          <p:nvPr/>
        </p:nvSpPr>
        <p:spPr>
          <a:xfrm>
            <a:off x="1622789" y="359516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C0A84C-94C1-4C57-BD63-9FC69FD0927A}"/>
              </a:ext>
            </a:extLst>
          </p:cNvPr>
          <p:cNvSpPr/>
          <p:nvPr/>
        </p:nvSpPr>
        <p:spPr>
          <a:xfrm>
            <a:off x="2079783" y="314084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E013AF-8650-4B1F-8474-78A72C32854F}"/>
              </a:ext>
            </a:extLst>
          </p:cNvPr>
          <p:cNvSpPr/>
          <p:nvPr/>
        </p:nvSpPr>
        <p:spPr>
          <a:xfrm>
            <a:off x="4479332" y="1899389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3C9D6-E7FE-4C8C-AA35-CCC89A1E4CDA}"/>
              </a:ext>
            </a:extLst>
          </p:cNvPr>
          <p:cNvSpPr/>
          <p:nvPr/>
        </p:nvSpPr>
        <p:spPr>
          <a:xfrm>
            <a:off x="29941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FCAC87-20E9-4BE0-9642-456AD5ABB9AA}"/>
              </a:ext>
            </a:extLst>
          </p:cNvPr>
          <p:cNvSpPr/>
          <p:nvPr/>
        </p:nvSpPr>
        <p:spPr>
          <a:xfrm>
            <a:off x="2536777" y="450896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D6E03A-726D-4BE8-9ECE-DFC1C286302D}"/>
              </a:ext>
            </a:extLst>
          </p:cNvPr>
          <p:cNvSpPr/>
          <p:nvPr/>
        </p:nvSpPr>
        <p:spPr>
          <a:xfrm>
            <a:off x="2994183" y="4965214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CA1FA6-314F-4F41-AA7D-619A1574A964}"/>
              </a:ext>
            </a:extLst>
          </p:cNvPr>
          <p:cNvSpPr/>
          <p:nvPr/>
        </p:nvSpPr>
        <p:spPr>
          <a:xfrm>
            <a:off x="3449478" y="4508966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2F7DC8-3AE3-4B6C-8DB9-804B1472F6CD}"/>
              </a:ext>
            </a:extLst>
          </p:cNvPr>
          <p:cNvSpPr/>
          <p:nvPr/>
        </p:nvSpPr>
        <p:spPr>
          <a:xfrm>
            <a:off x="2079783" y="542009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6366DA-F8DE-43FD-B56A-EA9720E44DF0}"/>
              </a:ext>
            </a:extLst>
          </p:cNvPr>
          <p:cNvSpPr/>
          <p:nvPr/>
        </p:nvSpPr>
        <p:spPr>
          <a:xfrm>
            <a:off x="2536777" y="5878441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8B19C-330C-46BB-B097-9412FDD415FF}"/>
              </a:ext>
            </a:extLst>
          </p:cNvPr>
          <p:cNvSpPr/>
          <p:nvPr/>
        </p:nvSpPr>
        <p:spPr>
          <a:xfrm>
            <a:off x="2079783" y="6331226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45FD-77E5-4637-9DEC-79CE31A360DE}"/>
              </a:ext>
            </a:extLst>
          </p:cNvPr>
          <p:cNvSpPr/>
          <p:nvPr/>
        </p:nvSpPr>
        <p:spPr>
          <a:xfrm>
            <a:off x="1628257" y="5871650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3FB668-9ED7-447D-9CCB-D055E45E7CE5}"/>
              </a:ext>
            </a:extLst>
          </p:cNvPr>
          <p:cNvSpPr/>
          <p:nvPr/>
        </p:nvSpPr>
        <p:spPr>
          <a:xfrm>
            <a:off x="4370265" y="542457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28776C-BC24-4586-AE64-154479FD5D19}"/>
              </a:ext>
            </a:extLst>
          </p:cNvPr>
          <p:cNvSpPr/>
          <p:nvPr/>
        </p:nvSpPr>
        <p:spPr>
          <a:xfrm>
            <a:off x="3913991" y="5873348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844673-BE93-492A-A880-9B888997BEFE}"/>
              </a:ext>
            </a:extLst>
          </p:cNvPr>
          <p:cNvSpPr/>
          <p:nvPr/>
        </p:nvSpPr>
        <p:spPr>
          <a:xfrm>
            <a:off x="4821349" y="588007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DEC186-8B32-484F-BC73-267569BE14A9}"/>
              </a:ext>
            </a:extLst>
          </p:cNvPr>
          <p:cNvSpPr/>
          <p:nvPr/>
        </p:nvSpPr>
        <p:spPr>
          <a:xfrm>
            <a:off x="4370265" y="633570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19B84B-E7F3-4A8D-9D44-4D8562B57095}"/>
              </a:ext>
            </a:extLst>
          </p:cNvPr>
          <p:cNvSpPr txBox="1"/>
          <p:nvPr/>
        </p:nvSpPr>
        <p:spPr>
          <a:xfrm>
            <a:off x="5800663" y="3694272"/>
            <a:ext cx="1672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 hòn đảo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E88B95-AFB6-40B9-96A6-368194786D49}"/>
              </a:ext>
            </a:extLst>
          </p:cNvPr>
          <p:cNvSpPr/>
          <p:nvPr/>
        </p:nvSpPr>
        <p:spPr>
          <a:xfrm>
            <a:off x="7376162" y="3712848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710376-D539-4210-9C69-79FFE7CFB58E}"/>
              </a:ext>
            </a:extLst>
          </p:cNvPr>
          <p:cNvSpPr/>
          <p:nvPr/>
        </p:nvSpPr>
        <p:spPr>
          <a:xfrm>
            <a:off x="7376162" y="3703082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278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-0.19675 0.24699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12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75 0.24699 L -0.15951 0.24745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2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2.22222E-6 L 0.03737 0.00023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96296E-6 L 0.03763 -0.0004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9" y="-46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37 0.00023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-0.0004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9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animClr clrSpc="rgb" dir="cw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29 0.24699 L -0.01029 0.24699 L -0.19844 0.31204 L -0.00977 0.31204 L -0.19844 0.38102 L -0.12201 0.38009 " pathEditMode="relative" rAng="0" ptsTypes="AAAAAA">
                                      <p:cBhvr>
                                        <p:cTn id="6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12" y="669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63 3.33333E-6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0.03763 -0.00046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81481E-6 L 0.0375 0.00047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0.00046 " pathEditMode="relative" rAng="0" ptsTypes="AA">
                                      <p:cBhvr>
                                        <p:cTn id="9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1 0.38009 L -0.08451 0.38055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4.81481E-6 L 0.075 -0.00023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37 -0.00046 L 0.07487 -4.81481E-6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8" y="-23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-0.00046 L 0.07513 0.00047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46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5 0.00046 L 0.075 -0.0004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46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451 0.38055 L -0.04688 0.38009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186 L 0.075 0.13472 L 0.0013 0.13472 L 0.0013 0.06713 L 0.00091 0.06713 " pathEditMode="relative" ptsTypes="AAAAA">
                                      <p:cBhvr>
                                        <p:cTn id="1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0.00047 L 0.075 0.13519 L -2.08333E-6 0.13519 L -2.08333E-6 0.06528 L -2.08333E-6 0.06621 " pathEditMode="relative" rAng="0" ptsTypes="AAAAA">
                                      <p:cBhvr>
                                        <p:cTn id="11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474 -0.00092 L 0.07474 0.13311 L 0.00052 0.13311 L -0.00026 0.06644 L 0.00013 0.06644 " pathEditMode="relative" rAng="0" ptsTypes="AAAAA">
                                      <p:cBhvr>
                                        <p:cTn id="11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69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092 L 0.075 0.13171 L -0.00039 0.13171 L -0.00039 0.06644 L -2.08333E-6 0.06644 " pathEditMode="relative" rAng="0" ptsTypes="AAAAA">
                                      <p:cBhvr>
                                        <p:cTn id="11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76" y="662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753 0.3794 L -0.04753 0.51435 L -0.12253 0.51435 L -0.12253 0.44676 L -0.12175 0.44676 " pathEditMode="relative" rAng="0" ptsTypes="AAAAA">
                                      <p:cBhvr>
                                        <p:cTn id="1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0" presetClass="path" presetSubtype="0" accel="50000" decel="5000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318 0.44745 L -0.08516 0.38194 L -0.00951 0.38194 L -0.19766 0.44653 L -0.00951 0.44653 L -0.19766 0.51319 L -0.01016 0.51319 L -0.19714 0.57986 L -0.19714 0.58102 " pathEditMode="relative" rAng="0" ptsTypes="AAAAAAAAA">
                                      <p:cBhvr>
                                        <p:cTn id="13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340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000"/>
                            </p:stCondLst>
                            <p:childTnLst>
                              <p:par>
                                <p:cTn id="1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42" presetClass="path" presetSubtype="0" accel="50000" decel="50000" fill="hold" grpId="7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714 0.58102 L -0.00964 0.58102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"/>
                            </p:stCondLst>
                            <p:childTnLst>
                              <p:par>
                                <p:cTn id="1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7" grpId="0" animBg="1"/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0" grpId="3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2" grpId="3" animBg="1"/>
      <p:bldP spid="12" grpId="4" animBg="1"/>
      <p:bldP spid="12" grpId="5" animBg="1"/>
      <p:bldP spid="12" grpId="6" animBg="1"/>
      <p:bldP spid="12" grpId="7" animBg="1"/>
      <p:bldP spid="12" grpId="8" animBg="1"/>
      <p:bldP spid="14" grpId="0" animBg="1"/>
      <p:bldP spid="14" grpId="1" animBg="1"/>
      <p:bldP spid="14" grpId="2" animBg="1"/>
      <p:bldP spid="14" grpId="3" animBg="1"/>
      <p:bldP spid="14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7" grpId="0" animBg="1"/>
      <p:bldP spid="17" grpId="1" animBg="1"/>
      <p:bldP spid="17" grpId="2" animBg="1"/>
      <p:bldP spid="17" grpId="3" animBg="1"/>
      <p:bldP spid="17" grpId="4" animBg="1"/>
      <p:bldP spid="19" grpId="0" animBg="1"/>
      <p:bldP spid="19" grpId="1" animBg="1"/>
      <p:bldP spid="19" grpId="2" animBg="1"/>
      <p:bldP spid="19" grpId="3" animBg="1"/>
      <p:bldP spid="19" grpId="4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D256516-0279-494B-8120-2E1623E285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3494" y="2193112"/>
            <a:ext cx="9144000" cy="4664888"/>
          </a:xfrm>
        </p:spPr>
        <p:txBody>
          <a:bodyPr/>
          <a:lstStyle/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Count = 0 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for Element in Matrix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if 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stack = [vị trí element]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flag = Tru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while stack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x, y = stack.pop(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for 4 around-element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stack.append(vị trí around-element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around-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out of bound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flag = Fals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if flag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Cound += 1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return Count</a:t>
            </a:r>
            <a:endParaRPr lang="en-US" sz="1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CABCFE-EC34-4ADD-8B9F-04E489FB5CAD}"/>
              </a:ext>
            </a:extLst>
          </p:cNvPr>
          <p:cNvSpPr txBox="1"/>
          <p:nvPr/>
        </p:nvSpPr>
        <p:spPr>
          <a:xfrm>
            <a:off x="1270781" y="1731447"/>
            <a:ext cx="18325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ử dụng DFS:</a:t>
            </a:r>
          </a:p>
        </p:txBody>
      </p:sp>
    </p:spTree>
    <p:extLst>
      <p:ext uri="{BB962C8B-B14F-4D97-AF65-F5344CB8AC3E}">
        <p14:creationId xmlns:p14="http://schemas.microsoft.com/office/powerpoint/2010/main" val="195340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885AB-B05A-4387-A3DB-FC4596672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46881"/>
            <a:ext cx="9144000" cy="2306637"/>
          </a:xfrm>
        </p:spPr>
        <p:txBody>
          <a:bodyPr/>
          <a:lstStyle/>
          <a:p>
            <a:r>
              <a:rPr lang="en-US" sz="5400">
                <a:latin typeface="Sitka Text Semibold" panose="020B0604020202020204" pitchFamily="2" charset="0"/>
              </a:rPr>
              <a:t>Cảm ơn thầy cô và các bạn</a:t>
            </a:r>
            <a:br>
              <a:rPr lang="en-US" sz="5400">
                <a:latin typeface="Sitka Text Semibold" panose="020B0604020202020204" pitchFamily="2" charset="0"/>
              </a:rPr>
            </a:br>
            <a:r>
              <a:rPr lang="en-US" sz="5400">
                <a:latin typeface="Sitka Text Semibold" panose="020B0604020202020204" pitchFamily="2" charset="0"/>
              </a:rPr>
              <a:t>đã lắng ngh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984192-7B84-40CB-9CDD-B056C57F998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547" y="2849977"/>
            <a:ext cx="4254044" cy="38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9435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6857C735-631F-4888-8542-16B6EC645A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 hidden="1">
            <a:extLst>
              <a:ext uri="{FF2B5EF4-FFF2-40B4-BE49-F238E27FC236}">
                <a16:creationId xmlns:a16="http://schemas.microsoft.com/office/drawing/2014/main" id="{96209265-E5C6-45B6-8F32-A7BBE1F3CD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, indoor, person, standing&#10;&#10;Description automatically generated">
            <a:extLst>
              <a:ext uri="{FF2B5EF4-FFF2-40B4-BE49-F238E27FC236}">
                <a16:creationId xmlns:a16="http://schemas.microsoft.com/office/drawing/2014/main" id="{A42CFAAE-5517-4780-81EF-B5597226F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347" y="0"/>
            <a:ext cx="46653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D2AA68-E27E-4A6C-9C6A-8C2B3E14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956" y="5111269"/>
            <a:ext cx="876714" cy="3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2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292A9-EDC6-4C41-B864-8228474543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AD226-75A9-4427-80FE-319FE79D00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erson playing a piano&#10;&#10;Description automatically generated with low confidence">
            <a:extLst>
              <a:ext uri="{FF2B5EF4-FFF2-40B4-BE49-F238E27FC236}">
                <a16:creationId xmlns:a16="http://schemas.microsoft.com/office/drawing/2014/main" id="{0BA749C8-0339-4A97-8529-57FC1743E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48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4D860B3-E9A3-4E79-AF1F-5476FDBFB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963" y="715695"/>
            <a:ext cx="5412073" cy="5671852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3359718-9CFE-4993-9902-87E6ABB10200}"/>
              </a:ext>
            </a:extLst>
          </p:cNvPr>
          <p:cNvGrpSpPr/>
          <p:nvPr/>
        </p:nvGrpSpPr>
        <p:grpSpPr>
          <a:xfrm>
            <a:off x="2789205" y="2253094"/>
            <a:ext cx="2731300" cy="1173447"/>
            <a:chOff x="2789205" y="2253094"/>
            <a:chExt cx="2731300" cy="1173447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18FB0D6-BC1E-46CC-8077-DB5990A4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89205" y="2253094"/>
              <a:ext cx="2731300" cy="117344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0CF48E-9EA0-454B-BA22-1DDED1AC62EF}"/>
                </a:ext>
              </a:extLst>
            </p:cNvPr>
            <p:cNvSpPr txBox="1"/>
            <p:nvPr/>
          </p:nvSpPr>
          <p:spPr>
            <a:xfrm>
              <a:off x="3464150" y="2286863"/>
              <a:ext cx="15520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DECOMPOS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F0D2FF9-FBE8-4A60-BA2B-F6D37FCD340B}"/>
              </a:ext>
            </a:extLst>
          </p:cNvPr>
          <p:cNvGrpSpPr/>
          <p:nvPr/>
        </p:nvGrpSpPr>
        <p:grpSpPr>
          <a:xfrm>
            <a:off x="6767748" y="2090388"/>
            <a:ext cx="2731300" cy="1265235"/>
            <a:chOff x="6767748" y="2090388"/>
            <a:chExt cx="2731300" cy="1265235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56B5286-319A-47F8-83A6-52839F5F6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67748" y="2090388"/>
              <a:ext cx="2731300" cy="1265235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01613E-1883-4A7B-9A6E-F291EF0C5DFE}"/>
                </a:ext>
              </a:extLst>
            </p:cNvPr>
            <p:cNvSpPr txBox="1"/>
            <p:nvPr/>
          </p:nvSpPr>
          <p:spPr>
            <a:xfrm>
              <a:off x="7194884" y="2253094"/>
              <a:ext cx="1503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BSTRA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302D1A-B083-42D7-B828-F0B93E71A0DA}"/>
              </a:ext>
            </a:extLst>
          </p:cNvPr>
          <p:cNvGrpSpPr/>
          <p:nvPr/>
        </p:nvGrpSpPr>
        <p:grpSpPr>
          <a:xfrm>
            <a:off x="1880058" y="4492438"/>
            <a:ext cx="2547563" cy="1265456"/>
            <a:chOff x="1880058" y="4492438"/>
            <a:chExt cx="2547563" cy="1265456"/>
          </a:xfrm>
        </p:grpSpPr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776B08-F04C-48C6-B564-331EE2A18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0058" y="4492438"/>
              <a:ext cx="2547563" cy="1265456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B44F37-818D-471E-A685-9960ADCE5FA7}"/>
                </a:ext>
              </a:extLst>
            </p:cNvPr>
            <p:cNvSpPr txBox="1"/>
            <p:nvPr/>
          </p:nvSpPr>
          <p:spPr>
            <a:xfrm>
              <a:off x="2063686" y="4645434"/>
              <a:ext cx="145103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PATTERN</a:t>
              </a:r>
            </a:p>
            <a:p>
              <a:r>
                <a:rPr lang="en-US">
                  <a:solidFill>
                    <a:schemeClr val="bg1"/>
                  </a:solidFill>
                </a:rPr>
                <a:t>RECOGNITIO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89743-66B8-44F6-B6B9-70336AB2B8AA}"/>
              </a:ext>
            </a:extLst>
          </p:cNvPr>
          <p:cNvGrpSpPr/>
          <p:nvPr/>
        </p:nvGrpSpPr>
        <p:grpSpPr>
          <a:xfrm>
            <a:off x="7194883" y="5310554"/>
            <a:ext cx="2587205" cy="1155293"/>
            <a:chOff x="7194883" y="5310554"/>
            <a:chExt cx="2587205" cy="1155293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657545D8-1326-49F7-BC9F-77F4BBD2C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4883" y="5310554"/>
              <a:ext cx="2587205" cy="1155293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81621CC-720F-44FA-BE74-65560AB8D090}"/>
                </a:ext>
              </a:extLst>
            </p:cNvPr>
            <p:cNvSpPr txBox="1"/>
            <p:nvPr/>
          </p:nvSpPr>
          <p:spPr>
            <a:xfrm>
              <a:off x="7946857" y="5450117"/>
              <a:ext cx="13708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LGORITH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4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580" y="1122361"/>
            <a:ext cx="9805149" cy="547411"/>
          </a:xfrm>
        </p:spPr>
        <p:txBody>
          <a:bodyPr/>
          <a:lstStyle/>
          <a:p>
            <a:r>
              <a:rPr lang="en-US" sz="4000"/>
              <a:t>Tại sao nên dùng computational thinking?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3F2473-26F6-4063-A874-B3FC9BFD2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191718"/>
              </p:ext>
            </p:extLst>
          </p:nvPr>
        </p:nvGraphicFramePr>
        <p:xfrm>
          <a:off x="1431235" y="2126241"/>
          <a:ext cx="9329530" cy="3956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989A45C0-5855-41EA-90C8-19DA31057278}"/>
              </a:ext>
            </a:extLst>
          </p:cNvPr>
          <p:cNvGrpSpPr/>
          <p:nvPr/>
        </p:nvGrpSpPr>
        <p:grpSpPr>
          <a:xfrm>
            <a:off x="1484667" y="4062885"/>
            <a:ext cx="10021533" cy="2367098"/>
            <a:chOff x="1484667" y="4062885"/>
            <a:chExt cx="10021533" cy="2367098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91F0334-3246-4E6A-9DDE-45C38FCCF00A}"/>
                </a:ext>
              </a:extLst>
            </p:cNvPr>
            <p:cNvGrpSpPr/>
            <p:nvPr/>
          </p:nvGrpSpPr>
          <p:grpSpPr>
            <a:xfrm>
              <a:off x="1484667" y="4062885"/>
              <a:ext cx="10021533" cy="2367098"/>
              <a:chOff x="1484667" y="4062885"/>
              <a:chExt cx="10021533" cy="2367098"/>
            </a:xfrm>
          </p:grpSpPr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68CF3432-3970-47B2-BB1B-EF45C7407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84667" y="4062885"/>
                <a:ext cx="1928798" cy="790575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44E6DC6-8830-435F-B3D0-340CC1060B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2543" y="4549667"/>
                <a:ext cx="1351477" cy="1880316"/>
              </a:xfrm>
              <a:prstGeom prst="rect">
                <a:avLst/>
              </a:prstGeom>
            </p:spPr>
          </p:pic>
          <p:sp>
            <p:nvSpPr>
              <p:cNvPr id="64" name="Pentagon 41">
                <a:extLst>
                  <a:ext uri="{FF2B5EF4-FFF2-40B4-BE49-F238E27FC236}">
                    <a16:creationId xmlns:a16="http://schemas.microsoft.com/office/drawing/2014/main" id="{EF0C814F-D138-4E01-92E8-3CFD803B967B}"/>
                  </a:ext>
                </a:extLst>
              </p:cNvPr>
              <p:cNvSpPr/>
              <p:nvPr/>
            </p:nvSpPr>
            <p:spPr>
              <a:xfrm>
                <a:off x="4809698" y="5720432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rgbClr val="3535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.v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03759C5-4B67-4459-83E6-18F653EEDB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8102" y="579132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dirty="0">
                  <a:solidFill>
                    <a:srgbClr val="464646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7A9DEE0-3066-4B6E-97AC-2C77B3EE2F57}"/>
              </a:ext>
            </a:extLst>
          </p:cNvPr>
          <p:cNvGrpSpPr/>
          <p:nvPr/>
        </p:nvGrpSpPr>
        <p:grpSpPr>
          <a:xfrm>
            <a:off x="1962713" y="1181417"/>
            <a:ext cx="9543487" cy="1500990"/>
            <a:chOff x="1962713" y="1181417"/>
            <a:chExt cx="9543487" cy="150099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4ECE77C-0535-4577-9E6E-B50504C0E219}"/>
                </a:ext>
              </a:extLst>
            </p:cNvPr>
            <p:cNvGrpSpPr/>
            <p:nvPr/>
          </p:nvGrpSpPr>
          <p:grpSpPr>
            <a:xfrm>
              <a:off x="1962713" y="1181417"/>
              <a:ext cx="9543487" cy="1500990"/>
              <a:chOff x="1962713" y="1181417"/>
              <a:chExt cx="9543487" cy="1500990"/>
            </a:xfrm>
          </p:grpSpPr>
          <p:sp>
            <p:nvSpPr>
              <p:cNvPr id="18" name="ShapeNameChangedByPowerUser6"/>
              <p:cNvSpPr/>
              <p:nvPr/>
            </p:nvSpPr>
            <p:spPr>
              <a:xfrm rot="10800000">
                <a:off x="1962713" y="235813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Pentagon 5"/>
              <p:cNvSpPr/>
              <p:nvPr/>
            </p:nvSpPr>
            <p:spPr>
              <a:xfrm>
                <a:off x="4809698" y="118141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ute-forc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426011" y="1194801"/>
                <a:ext cx="1364400" cy="1487606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530204" y="124230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DFCC6E5-FE02-49C5-957A-33167B3168B0}"/>
              </a:ext>
            </a:extLst>
          </p:cNvPr>
          <p:cNvGrpSpPr/>
          <p:nvPr/>
        </p:nvGrpSpPr>
        <p:grpSpPr>
          <a:xfrm>
            <a:off x="1962544" y="1953555"/>
            <a:ext cx="9543656" cy="1105270"/>
            <a:chOff x="1962544" y="1953555"/>
            <a:chExt cx="9543656" cy="110527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01C32E3-3D88-475E-B74A-B1DDF680F931}"/>
                </a:ext>
              </a:extLst>
            </p:cNvPr>
            <p:cNvGrpSpPr/>
            <p:nvPr/>
          </p:nvGrpSpPr>
          <p:grpSpPr>
            <a:xfrm>
              <a:off x="1962544" y="1953555"/>
              <a:ext cx="9543656" cy="1105270"/>
              <a:chOff x="1962544" y="1953555"/>
              <a:chExt cx="9543656" cy="1105270"/>
            </a:xfrm>
          </p:grpSpPr>
          <p:sp>
            <p:nvSpPr>
              <p:cNvPr id="19" name="ShapeNameChangedByPowerUser5"/>
              <p:cNvSpPr/>
              <p:nvPr/>
            </p:nvSpPr>
            <p:spPr>
              <a:xfrm rot="10800000">
                <a:off x="1962544" y="2734549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809698" y="1953555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ivide and Conquer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426011" y="195960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530204" y="202444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90D864D-F783-4D0C-B353-1C836B6977B8}"/>
              </a:ext>
            </a:extLst>
          </p:cNvPr>
          <p:cNvGrpSpPr/>
          <p:nvPr/>
        </p:nvGrpSpPr>
        <p:grpSpPr>
          <a:xfrm>
            <a:off x="1962375" y="2704427"/>
            <a:ext cx="9543825" cy="709551"/>
            <a:chOff x="1962375" y="2704427"/>
            <a:chExt cx="9543825" cy="70955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7AC3368-C62A-47C9-8552-E395F61F015E}"/>
                </a:ext>
              </a:extLst>
            </p:cNvPr>
            <p:cNvGrpSpPr/>
            <p:nvPr/>
          </p:nvGrpSpPr>
          <p:grpSpPr>
            <a:xfrm>
              <a:off x="1962375" y="2704427"/>
              <a:ext cx="9543825" cy="709551"/>
              <a:chOff x="1962375" y="2704427"/>
              <a:chExt cx="9543825" cy="709551"/>
            </a:xfrm>
          </p:grpSpPr>
          <p:sp>
            <p:nvSpPr>
              <p:cNvPr id="20" name="ShapeNameChangedByPowerUser4"/>
              <p:cNvSpPr/>
              <p:nvPr/>
            </p:nvSpPr>
            <p:spPr>
              <a:xfrm rot="10800000">
                <a:off x="1962375" y="308970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4809698" y="270442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Greedy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432544" y="2712450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530204" y="2775667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413737B-4BC5-4E45-AAFD-63E8BF1933E4}"/>
              </a:ext>
            </a:extLst>
          </p:cNvPr>
          <p:cNvGrpSpPr/>
          <p:nvPr/>
        </p:nvGrpSpPr>
        <p:grpSpPr>
          <a:xfrm>
            <a:off x="1962375" y="3444021"/>
            <a:ext cx="9543825" cy="709551"/>
            <a:chOff x="1962375" y="3444021"/>
            <a:chExt cx="9543825" cy="70955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362F26-11CD-4D5B-84F5-AF96B384144D}"/>
                </a:ext>
              </a:extLst>
            </p:cNvPr>
            <p:cNvGrpSpPr/>
            <p:nvPr/>
          </p:nvGrpSpPr>
          <p:grpSpPr>
            <a:xfrm>
              <a:off x="1962375" y="3444021"/>
              <a:ext cx="9543825" cy="709551"/>
              <a:chOff x="1962375" y="3444021"/>
              <a:chExt cx="9543825" cy="709551"/>
            </a:xfrm>
          </p:grpSpPr>
          <p:sp>
            <p:nvSpPr>
              <p:cNvPr id="41" name="ShapeNameChangedByPowerUser4"/>
              <p:cNvSpPr/>
              <p:nvPr/>
            </p:nvSpPr>
            <p:spPr>
              <a:xfrm rot="10800000" flipV="1">
                <a:off x="1962375" y="344402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Pentagon 43"/>
              <p:cNvSpPr/>
              <p:nvPr/>
            </p:nvSpPr>
            <p:spPr>
              <a:xfrm>
                <a:off x="4809698" y="344402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ynamic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46"/>
              <p:cNvSpPr/>
              <p:nvPr/>
            </p:nvSpPr>
            <p:spPr>
              <a:xfrm flipV="1">
                <a:off x="3432544" y="3444021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30204" y="351894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C7B012E-A1C4-41CF-AE32-A6D63144C2F1}"/>
              </a:ext>
            </a:extLst>
          </p:cNvPr>
          <p:cNvGrpSpPr/>
          <p:nvPr/>
        </p:nvGrpSpPr>
        <p:grpSpPr>
          <a:xfrm>
            <a:off x="1962544" y="3799174"/>
            <a:ext cx="9543656" cy="1115903"/>
            <a:chOff x="1962544" y="3799174"/>
            <a:chExt cx="9543656" cy="111590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D8319E8-C8B6-4873-9BEF-8463150AD9B1}"/>
                </a:ext>
              </a:extLst>
            </p:cNvPr>
            <p:cNvGrpSpPr/>
            <p:nvPr/>
          </p:nvGrpSpPr>
          <p:grpSpPr>
            <a:xfrm>
              <a:off x="1962544" y="3799174"/>
              <a:ext cx="9543656" cy="1115903"/>
              <a:chOff x="1962544" y="3799174"/>
              <a:chExt cx="9543656" cy="1115903"/>
            </a:xfrm>
          </p:grpSpPr>
          <p:sp>
            <p:nvSpPr>
              <p:cNvPr id="40" name="ShapeNameChangedByPowerUser5"/>
              <p:cNvSpPr/>
              <p:nvPr/>
            </p:nvSpPr>
            <p:spPr>
              <a:xfrm rot="10800000" flipV="1">
                <a:off x="1962544" y="3799174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Pentagon 42"/>
              <p:cNvSpPr/>
              <p:nvPr/>
            </p:nvSpPr>
            <p:spPr>
              <a:xfrm>
                <a:off x="4809698" y="4205526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anch and Bound	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 flipV="1">
                <a:off x="3426011" y="380283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30204" y="4265782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37A5817-44FC-4F12-83E5-5E4BA446FD1E}"/>
              </a:ext>
            </a:extLst>
          </p:cNvPr>
          <p:cNvGrpSpPr/>
          <p:nvPr/>
        </p:nvGrpSpPr>
        <p:grpSpPr>
          <a:xfrm>
            <a:off x="1962713" y="4175592"/>
            <a:ext cx="9543487" cy="1500990"/>
            <a:chOff x="1962713" y="4175592"/>
            <a:chExt cx="9543487" cy="150099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850A3C-7CBA-487C-B1FD-084D3B8762FB}"/>
                </a:ext>
              </a:extLst>
            </p:cNvPr>
            <p:cNvGrpSpPr/>
            <p:nvPr/>
          </p:nvGrpSpPr>
          <p:grpSpPr>
            <a:xfrm>
              <a:off x="1962713" y="4175592"/>
              <a:ext cx="9543487" cy="1500990"/>
              <a:chOff x="1962713" y="4175592"/>
              <a:chExt cx="9543487" cy="1500990"/>
            </a:xfrm>
          </p:grpSpPr>
          <p:sp>
            <p:nvSpPr>
              <p:cNvPr id="45" name="Freeform 44"/>
              <p:cNvSpPr/>
              <p:nvPr/>
            </p:nvSpPr>
            <p:spPr>
              <a:xfrm flipV="1">
                <a:off x="3426011" y="4175592"/>
                <a:ext cx="1364400" cy="1500990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ShapeNameChangedByPowerUser6"/>
              <p:cNvSpPr/>
              <p:nvPr/>
            </p:nvSpPr>
            <p:spPr>
              <a:xfrm rot="10800000" flipV="1">
                <a:off x="1962713" y="417559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Pentagon 41"/>
              <p:cNvSpPr/>
              <p:nvPr/>
            </p:nvSpPr>
            <p:spPr>
              <a:xfrm>
                <a:off x="4809698" y="496703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acktracking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30204" y="5037920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323209" y="1558848"/>
            <a:ext cx="1960098" cy="196009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Algorith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qu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8F646D-6C82-4D49-B85F-6C7C7D28A419}"/>
              </a:ext>
            </a:extLst>
          </p:cNvPr>
          <p:cNvSpPr txBox="1"/>
          <p:nvPr/>
        </p:nvSpPr>
        <p:spPr>
          <a:xfrm>
            <a:off x="3579926" y="530953"/>
            <a:ext cx="5032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Ố THUẬT TOÁN THƯỜNG GẶ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7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7 L -0.35599 0.1314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60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2308433"/>
          </a:xfrm>
        </p:spPr>
        <p:txBody>
          <a:bodyPr/>
          <a:lstStyle/>
          <a:p>
            <a:pPr algn="l"/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ào dịp tết nguyên đán, 2 anh em nhà Tèo được mẹ cho 1 số tiền đi chơi tết, mẹ vừa 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uẩn bị một số tiền </a:t>
            </a:r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ồm N tờ, để đảm bảo tính công bằng cho hai anh em thì mẹ quyết định chia só tiền đấy thành hai phần bằng nhau. Xác định xem mẹ có khả năng chia 2 số tiền đó thành 2 phần bằng nhau hay không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vi-VN" b="0" i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vi-VN"/>
            </a:br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Brothers - Free people icons">
            <a:extLst>
              <a:ext uri="{FF2B5EF4-FFF2-40B4-BE49-F238E27FC236}">
                <a16:creationId xmlns:a16="http://schemas.microsoft.com/office/drawing/2014/main" id="{A561D773-446E-40F0-B667-0B333E658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016" y="3849997"/>
            <a:ext cx="1643270" cy="164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2FFAA1-B16E-4D87-8D7A-0B203B51E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5454976" y="5594825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12" name="Oval 189">
              <a:extLst>
                <a:ext uri="{FF2B5EF4-FFF2-40B4-BE49-F238E27FC236}">
                  <a16:creationId xmlns:a16="http://schemas.microsoft.com/office/drawing/2014/main" id="{D5CEB833-610F-45C8-B3C0-728306BE9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">
              <a:extLst>
                <a:ext uri="{FF2B5EF4-FFF2-40B4-BE49-F238E27FC236}">
                  <a16:creationId xmlns:a16="http://schemas.microsoft.com/office/drawing/2014/main" id="{060FE933-2095-461A-A9D7-80435C14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91">
              <a:extLst>
                <a:ext uri="{FF2B5EF4-FFF2-40B4-BE49-F238E27FC236}">
                  <a16:creationId xmlns:a16="http://schemas.microsoft.com/office/drawing/2014/main" id="{9E321194-D5AC-4B28-8FF8-C3D98D8F3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92">
              <a:extLst>
                <a:ext uri="{FF2B5EF4-FFF2-40B4-BE49-F238E27FC236}">
                  <a16:creationId xmlns:a16="http://schemas.microsoft.com/office/drawing/2014/main" id="{34F4B14F-1136-473C-A7C6-CE6E47C07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73EC2415-8D17-4E5B-AF33-1633CE433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94">
              <a:extLst>
                <a:ext uri="{FF2B5EF4-FFF2-40B4-BE49-F238E27FC236}">
                  <a16:creationId xmlns:a16="http://schemas.microsoft.com/office/drawing/2014/main" id="{71F9F38D-A115-4308-924E-E6D59B7BB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95">
              <a:extLst>
                <a:ext uri="{FF2B5EF4-FFF2-40B4-BE49-F238E27FC236}">
                  <a16:creationId xmlns:a16="http://schemas.microsoft.com/office/drawing/2014/main" id="{F5C4A738-BE96-4A9C-AB0F-47C11BBC9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F90C21-E17F-4A09-8FE9-1054922DEF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1991" y="5599787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D54EA490-530C-441D-936A-3D11AE138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28EB3784-4BA5-4229-AC8B-3FE509537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F5A2F6CA-B1B8-4646-AE28-4BB155895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5350A7C6-8F32-4E18-B463-0931452BD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93">
              <a:extLst>
                <a:ext uri="{FF2B5EF4-FFF2-40B4-BE49-F238E27FC236}">
                  <a16:creationId xmlns:a16="http://schemas.microsoft.com/office/drawing/2014/main" id="{815FAA1E-2F67-4E27-960D-0F7ADD20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4">
              <a:extLst>
                <a:ext uri="{FF2B5EF4-FFF2-40B4-BE49-F238E27FC236}">
                  <a16:creationId xmlns:a16="http://schemas.microsoft.com/office/drawing/2014/main" id="{3ED9C46A-7DC6-40C4-9796-6AEE590F0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DA6AF988-91A5-48EA-BDCB-7F985E52C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55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2783" y="1840224"/>
            <a:ext cx="7156173" cy="2220471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Kiểm tra tổng giá trị là số chẵn hay l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Chọn ra các tập hợp tờ tiề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ính tổng giá trị các tập hợ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ìm tập hợp nào có tổng giá trị bằng nửa số tiền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08384" y="1122361"/>
            <a:ext cx="5287616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Bugs Bunny Money GIF by Looney Tunes">
            <a:extLst>
              <a:ext uri="{FF2B5EF4-FFF2-40B4-BE49-F238E27FC236}">
                <a16:creationId xmlns:a16="http://schemas.microsoft.com/office/drawing/2014/main" id="{92F8C413-21B5-4CC9-AA0F-D090D729296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8173" y="4113342"/>
            <a:ext cx="3735654" cy="27023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9844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*transport*city bus*public transportation*vehicle*public transit*transportation*bus stop*commuter*public*logistics*van*commute*transporation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e_POWER_USER_SEPARATOR_ICONS_touristic-attraction_POWER_USER_SEPARATOR_ICONS_tourist_POWER_USER_SEPARATOR_ICONS_tourism_POWER_USER_SEPARATOR_ICONS_stone_POWER_USER_SEPARATOR_ICONS_statue_POWER_USER_SEPARATOR_ICONS_monolithic_POWER_USER_SEPARATOR_ICONS_moai_POWER_USER_SEPARATOR_ICONS_landmark_POWER_USER_SEPARATOR_ICONS_island_POWER_USER_SEPARATOR_ICONS_easter_POWER_USER_SEPARATOR_ICONS_civilization_POWER_USER_SEPARATOR_ICONS_visi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oler · SlidesCarnival</Template>
  <TotalTime>2287</TotalTime>
  <Words>2255</Words>
  <Application>Microsoft Office PowerPoint</Application>
  <PresentationFormat>Widescreen</PresentationFormat>
  <Paragraphs>385</Paragraphs>
  <Slides>2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Raleway</vt:lpstr>
      <vt:lpstr>Oswald</vt:lpstr>
      <vt:lpstr>Consolas</vt:lpstr>
      <vt:lpstr>Calibri</vt:lpstr>
      <vt:lpstr>Sitka Text Semibold</vt:lpstr>
      <vt:lpstr>Barlow Light</vt:lpstr>
      <vt:lpstr>Arial</vt:lpstr>
      <vt:lpstr>Symbol</vt:lpstr>
      <vt:lpstr>Raleway Thin</vt:lpstr>
      <vt:lpstr>Gaoler template</vt:lpstr>
      <vt:lpstr>1_Gaoler template</vt:lpstr>
      <vt:lpstr>LUYỆN TẬP THIẾT KẾ THUẬT TOÁN</vt:lpstr>
      <vt:lpstr>Thành viên nhóm:</vt:lpstr>
      <vt:lpstr>PowerPoint Presentation</vt:lpstr>
      <vt:lpstr>PowerPoint Presentation</vt:lpstr>
      <vt:lpstr>PowerPoint Presentation</vt:lpstr>
      <vt:lpstr>Tại sao nên dùng computational thinking?</vt:lpstr>
      <vt:lpstr>PowerPoint Presentation</vt:lpstr>
      <vt:lpstr>Bài 1:</vt:lpstr>
      <vt:lpstr>PowerPoint Presentation</vt:lpstr>
      <vt:lpstr>PowerPoint Presentation</vt:lpstr>
      <vt:lpstr>PowerPoint Presentation</vt:lpstr>
      <vt:lpstr>PowerPoint Presentation</vt:lpstr>
      <vt:lpstr>Bài 2:</vt:lpstr>
      <vt:lpstr>Bài 2: Decomposition</vt:lpstr>
      <vt:lpstr>Bài 2: Abstraction</vt:lpstr>
      <vt:lpstr>Bài 2: Abstraction</vt:lpstr>
      <vt:lpstr>Bài 2: Pattern recognition</vt:lpstr>
      <vt:lpstr>Bài 2: Pattern recognition</vt:lpstr>
      <vt:lpstr>PowerPoint Presentation</vt:lpstr>
      <vt:lpstr>Bài 3:</vt:lpstr>
      <vt:lpstr>PowerPoint Presentation</vt:lpstr>
      <vt:lpstr>PowerPoint Presentation</vt:lpstr>
      <vt:lpstr>PowerPoint Presentation</vt:lpstr>
      <vt:lpstr>PowerPoint Presentation</vt:lpstr>
      <vt:lpstr>Cảm ơn thầy cô và các bạn đã lắng ngh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</dc:creator>
  <cp:lastModifiedBy>Nguyễn Lộc Linh</cp:lastModifiedBy>
  <cp:revision>158</cp:revision>
  <dcterms:created xsi:type="dcterms:W3CDTF">2021-05-21T14:55:51Z</dcterms:created>
  <dcterms:modified xsi:type="dcterms:W3CDTF">2021-06-08T14:04:16Z</dcterms:modified>
</cp:coreProperties>
</file>